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dat" ContentType="text/plain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d970903201214521" Type="http://schemas.microsoft.com/office/2006/relationships/txt" Target="udata/data.dat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71" r:id="rId2"/>
    <p:sldId id="273" r:id="rId3"/>
    <p:sldId id="269" r:id="rId4"/>
    <p:sldId id="258" r:id="rId5"/>
    <p:sldId id="270" r:id="rId6"/>
    <p:sldId id="274" r:id="rId7"/>
    <p:sldId id="275" r:id="rId8"/>
    <p:sldId id="285" r:id="rId9"/>
    <p:sldId id="286" r:id="rId10"/>
    <p:sldId id="276" r:id="rId11"/>
    <p:sldId id="277" r:id="rId12"/>
    <p:sldId id="287" r:id="rId13"/>
    <p:sldId id="291" r:id="rId14"/>
    <p:sldId id="278" r:id="rId15"/>
    <p:sldId id="282" r:id="rId16"/>
    <p:sldId id="288" r:id="rId17"/>
    <p:sldId id="289" r:id="rId18"/>
    <p:sldId id="280" r:id="rId19"/>
    <p:sldId id="283" r:id="rId20"/>
    <p:sldId id="292" r:id="rId21"/>
    <p:sldId id="281" r:id="rId22"/>
    <p:sldId id="284" r:id="rId23"/>
    <p:sldId id="294" r:id="rId24"/>
    <p:sldId id="295" r:id="rId25"/>
    <p:sldId id="293" r:id="rId26"/>
    <p:sldId id="261" r:id="rId27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2D64"/>
    <a:srgbClr val="FDFDFD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7" autoAdjust="0"/>
    <p:restoredTop sz="96182" autoAdjust="0"/>
  </p:normalViewPr>
  <p:slideViewPr>
    <p:cSldViewPr snapToGrid="0">
      <p:cViewPr>
        <p:scale>
          <a:sx n="100" d="100"/>
          <a:sy n="100" d="100"/>
        </p:scale>
        <p:origin x="876" y="31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11/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11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" t="318" r="283" b="15469"/>
          <a:stretch/>
        </p:blipFill>
        <p:spPr>
          <a:xfrm>
            <a:off x="0" y="-13931"/>
            <a:ext cx="12192000" cy="6863306"/>
          </a:xfrm>
          <a:prstGeom prst="rect">
            <a:avLst/>
          </a:prstGeom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61C442C2-BD3E-45EA-B9B5-91F75EFAAB38}"/>
              </a:ext>
            </a:extLst>
          </p:cNvPr>
          <p:cNvSpPr/>
          <p:nvPr userDrawn="1"/>
        </p:nvSpPr>
        <p:spPr>
          <a:xfrm>
            <a:off x="-12215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349896"/>
            <a:ext cx="10845800" cy="570253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909739"/>
            <a:ext cx="10845800" cy="1251248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7C2D6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6000" y="4839367"/>
            <a:ext cx="1800000" cy="353119"/>
          </a:xfrm>
          <a:prstGeom prst="hexagon">
            <a:avLst>
              <a:gd name="adj" fmla="val 48499"/>
              <a:gd name="vf" fmla="val 115470"/>
            </a:avLst>
          </a:prstGeom>
          <a:solidFill>
            <a:srgbClr val="7C2D64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81523" y="5271963"/>
            <a:ext cx="302895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rgbClr val="7C2D64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4A6E4ECF-8215-4815-9816-001AA6875A9E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00" b="98667" l="2000" r="98444">
                        <a14:foregroundMark x1="45778" y1="5111" x2="9556" y2="33333"/>
                        <a14:foregroundMark x1="45333" y1="5556" x2="48889" y2="2667"/>
                        <a14:foregroundMark x1="48889" y1="3556" x2="96889" y2="50000"/>
                        <a14:foregroundMark x1="97111" y1="50222" x2="81333" y2="85333"/>
                        <a14:foregroundMark x1="80889" y1="85556" x2="51333" y2="95333"/>
                        <a14:foregroundMark x1="50889" y1="95333" x2="16222" y2="82889"/>
                        <a14:foregroundMark x1="15778" y1="83111" x2="3111" y2="50222"/>
                        <a14:foregroundMark x1="3111" y1="50000" x2="10000" y2="32889"/>
                        <a14:foregroundMark x1="11556" y1="34222" x2="96444" y2="50222"/>
                        <a14:foregroundMark x1="48222" y1="3778" x2="9778" y2="65556"/>
                        <a14:foregroundMark x1="9333" y1="66444" x2="33556" y2="88000"/>
                        <a14:foregroundMark x1="9556" y1="66667" x2="88889" y2="67556"/>
                        <a14:foregroundMark x1="33556" y1="88444" x2="66222" y2="88444"/>
                        <a14:foregroundMark x1="49111" y1="85778" x2="48222" y2="76667"/>
                        <a14:foregroundMark x1="24222" y1="60222" x2="35556" y2="42222"/>
                        <a14:foregroundMark x1="20444" y1="53556" x2="50444" y2="22667"/>
                        <a14:foregroundMark x1="42444" y1="47333" x2="33778" y2="31111"/>
                        <a14:foregroundMark x1="42000" y1="33556" x2="73111" y2="32889"/>
                        <a14:foregroundMark x1="67111" y1="27778" x2="73556" y2="595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170" y="807882"/>
            <a:ext cx="1291657" cy="1291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图片包含 树, 天空, 户外, 道路&#10;&#10;自动生成的说明">
            <a:extLst>
              <a:ext uri="{FF2B5EF4-FFF2-40B4-BE49-F238E27FC236}">
                <a16:creationId xmlns:a16="http://schemas.microsoft.com/office/drawing/2014/main" id="{71A7CD41-12EC-4BE4-B555-2AE911097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grayscl/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77A7FF4-C786-4DA6-8980-65E346777D2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3099" y="1685925"/>
            <a:ext cx="10845800" cy="186735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zh-CN" altLang="en-US" sz="4800" b="1" kern="1200" spc="600" dirty="0">
                <a:solidFill>
                  <a:srgbClr val="7C2D64"/>
                </a:solidFill>
                <a:latin typeface="+mj-lt"/>
                <a:ea typeface="+mj-ea"/>
                <a:cs typeface="+mn-ea"/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3099" y="3553279"/>
            <a:ext cx="10845800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2800">
                <a:solidFill>
                  <a:schemeClr val="bg1">
                    <a:lumMod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771C8971-0821-40B4-9350-4856B2922DA2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10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5928" y="6364288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1/11</a:t>
            </a:fld>
            <a:endParaRPr lang="zh-CN" altLang="en-US" dirty="0"/>
          </a:p>
        </p:txBody>
      </p:sp>
      <p:sp>
        <p:nvSpPr>
          <p:cNvPr id="11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12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日期占位符 5">
            <a:extLst>
              <a:ext uri="{FF2B5EF4-FFF2-40B4-BE49-F238E27FC236}">
                <a16:creationId xmlns:a16="http://schemas.microsoft.com/office/drawing/2014/main" id="{E2A9C4FC-F9A2-4787-9436-68ADBF2BD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7C2D64"/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1/11</a:t>
            </a:fld>
            <a:endParaRPr lang="zh-CN" altLang="en-US" dirty="0"/>
          </a:p>
        </p:txBody>
      </p:sp>
      <p:sp>
        <p:nvSpPr>
          <p:cNvPr id="7" name="页脚占位符 6">
            <a:extLst>
              <a:ext uri="{FF2B5EF4-FFF2-40B4-BE49-F238E27FC236}">
                <a16:creationId xmlns:a16="http://schemas.microsoft.com/office/drawing/2014/main" id="{9CABF50B-8DC9-40D7-BF09-F25C97937F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</a:p>
        </p:txBody>
      </p:sp>
      <p:sp>
        <p:nvSpPr>
          <p:cNvPr id="8" name="灯片编号占位符 7">
            <a:extLst>
              <a:ext uri="{FF2B5EF4-FFF2-40B4-BE49-F238E27FC236}">
                <a16:creationId xmlns:a16="http://schemas.microsoft.com/office/drawing/2014/main" id="{C98AED3E-B546-442B-8832-73BAFEA66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>
            <a:extLst>
              <a:ext uri="{FF2B5EF4-FFF2-40B4-BE49-F238E27FC236}">
                <a16:creationId xmlns:a16="http://schemas.microsoft.com/office/drawing/2014/main" id="{07C10E3E-3226-4C56-8E9B-EA1C5AF3C5D3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254475"/>
            <a:ext cx="10845798" cy="2281638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6600">
                <a:solidFill>
                  <a:srgbClr val="7C2D64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476623" y="5647471"/>
            <a:ext cx="5238752" cy="3108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zh-CN" altLang="en-US" sz="1600" spc="300" smtClean="0">
                <a:solidFill>
                  <a:srgbClr val="7C2D64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107542"/>
            <a:ext cx="10845798" cy="682171"/>
          </a:xfrm>
        </p:spPr>
        <p:txBody>
          <a:bodyPr vert="horz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2800" b="1">
                <a:solidFill>
                  <a:srgbClr val="7C2D64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000" b="98667" l="2000" r="98444">
                        <a14:foregroundMark x1="45778" y1="5111" x2="9556" y2="33333"/>
                        <a14:foregroundMark x1="45333" y1="5556" x2="48889" y2="2667"/>
                        <a14:foregroundMark x1="48889" y1="3556" x2="96889" y2="50000"/>
                        <a14:foregroundMark x1="97111" y1="50222" x2="81333" y2="85333"/>
                        <a14:foregroundMark x1="80889" y1="85556" x2="51333" y2="95333"/>
                        <a14:foregroundMark x1="50889" y1="95333" x2="16222" y2="82889"/>
                        <a14:foregroundMark x1="15778" y1="83111" x2="3111" y2="50222"/>
                        <a14:foregroundMark x1="3111" y1="50000" x2="10000" y2="32889"/>
                        <a14:foregroundMark x1="11556" y1="34222" x2="96444" y2="50222"/>
                        <a14:foregroundMark x1="48222" y1="3778" x2="9778" y2="65556"/>
                        <a14:foregroundMark x1="9333" y1="66444" x2="33556" y2="88000"/>
                        <a14:foregroundMark x1="9556" y1="66667" x2="88889" y2="67556"/>
                        <a14:foregroundMark x1="33556" y1="88444" x2="66222" y2="88444"/>
                        <a14:foregroundMark x1="49111" y1="85778" x2="48222" y2="76667"/>
                        <a14:foregroundMark x1="24222" y1="60222" x2="35556" y2="42222"/>
                        <a14:foregroundMark x1="20444" y1="53556" x2="50444" y2="22667"/>
                        <a14:foregroundMark x1="42444" y1="47333" x2="33778" y2="31111"/>
                        <a14:foregroundMark x1="42000" y1="33556" x2="73111" y2="32889"/>
                        <a14:foregroundMark x1="67111" y1="27778" x2="73556" y2="595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170" y="807882"/>
            <a:ext cx="1291657" cy="1291657"/>
          </a:xfrm>
          <a:prstGeom prst="rect">
            <a:avLst/>
          </a:prstGeom>
        </p:spPr>
      </p:pic>
      <p:sp>
        <p:nvSpPr>
          <p:cNvPr id="19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461781" y="6610809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altLang="zh-CN" spc="30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20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610809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zh-CN" altLang="en-US" spc="60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1021556" y="1"/>
            <a:ext cx="10498931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>
            <a:cxnSpLocks/>
          </p:cNvCxnSpPr>
          <p:nvPr userDrawn="1"/>
        </p:nvCxnSpPr>
        <p:spPr>
          <a:xfrm>
            <a:off x="695325" y="1028700"/>
            <a:ext cx="10926762" cy="0"/>
          </a:xfrm>
          <a:prstGeom prst="line">
            <a:avLst/>
          </a:prstGeom>
          <a:ln w="3175">
            <a:solidFill>
              <a:srgbClr val="7C2D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5928" y="6364288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1/11</a:t>
            </a:fld>
            <a:endParaRPr lang="zh-CN" altLang="en-US" dirty="0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A1AD6F75-A035-46E6-B099-20E9303D46CD}"/>
              </a:ext>
            </a:extLst>
          </p:cNvPr>
          <p:cNvCxnSpPr>
            <a:cxnSpLocks/>
          </p:cNvCxnSpPr>
          <p:nvPr userDrawn="1"/>
        </p:nvCxnSpPr>
        <p:spPr>
          <a:xfrm>
            <a:off x="660400" y="6248879"/>
            <a:ext cx="10858500" cy="0"/>
          </a:xfrm>
          <a:prstGeom prst="line">
            <a:avLst/>
          </a:prstGeom>
          <a:ln>
            <a:solidFill>
              <a:srgbClr val="7C2D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/>
          <p:cNvGrpSpPr/>
          <p:nvPr userDrawn="1"/>
        </p:nvGrpSpPr>
        <p:grpSpPr>
          <a:xfrm>
            <a:off x="8420960" y="246658"/>
            <a:ext cx="3201127" cy="734417"/>
            <a:chOff x="8420960" y="246658"/>
            <a:chExt cx="3201127" cy="734417"/>
          </a:xfrm>
        </p:grpSpPr>
        <p:pic>
          <p:nvPicPr>
            <p:cNvPr id="56" name="图片 55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2000" b="98667" l="2000" r="98444">
                          <a14:foregroundMark x1="45778" y1="5111" x2="9556" y2="33333"/>
                          <a14:foregroundMark x1="45333" y1="5556" x2="48889" y2="2667"/>
                          <a14:foregroundMark x1="48889" y1="3556" x2="96889" y2="50000"/>
                          <a14:foregroundMark x1="97111" y1="50222" x2="81333" y2="85333"/>
                          <a14:foregroundMark x1="80889" y1="85556" x2="51333" y2="95333"/>
                          <a14:foregroundMark x1="50889" y1="95333" x2="16222" y2="82889"/>
                          <a14:foregroundMark x1="15778" y1="83111" x2="3111" y2="50222"/>
                          <a14:foregroundMark x1="3111" y1="50000" x2="10000" y2="32889"/>
                          <a14:foregroundMark x1="11556" y1="34222" x2="96444" y2="50222"/>
                          <a14:foregroundMark x1="48222" y1="3778" x2="9778" y2="65556"/>
                          <a14:foregroundMark x1="9333" y1="66444" x2="33556" y2="88000"/>
                          <a14:foregroundMark x1="9556" y1="66667" x2="88889" y2="67556"/>
                          <a14:foregroundMark x1="33556" y1="88444" x2="66222" y2="88444"/>
                          <a14:foregroundMark x1="49111" y1="85778" x2="48222" y2="76667"/>
                          <a14:foregroundMark x1="24222" y1="60222" x2="35556" y2="42222"/>
                          <a14:foregroundMark x1="20444" y1="53556" x2="50444" y2="22667"/>
                          <a14:foregroundMark x1="42444" y1="47333" x2="33778" y2="31111"/>
                          <a14:foregroundMark x1="42000" y1="33556" x2="73111" y2="32889"/>
                          <a14:foregroundMark x1="67111" y1="27778" x2="73556" y2="59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420960" y="246658"/>
              <a:ext cx="734417" cy="734417"/>
            </a:xfrm>
            <a:prstGeom prst="rect">
              <a:avLst/>
            </a:prstGeom>
          </p:spPr>
        </p:pic>
        <p:grpSp>
          <p:nvGrpSpPr>
            <p:cNvPr id="57" name="组合 56"/>
            <p:cNvGrpSpPr/>
            <p:nvPr userDrawn="1"/>
          </p:nvGrpSpPr>
          <p:grpSpPr>
            <a:xfrm>
              <a:off x="9029711" y="363306"/>
              <a:ext cx="2592376" cy="576494"/>
              <a:chOff x="9383299" y="298905"/>
              <a:chExt cx="2592376" cy="576494"/>
            </a:xfrm>
          </p:grpSpPr>
          <p:sp>
            <p:nvSpPr>
              <p:cNvPr id="59" name="文本框 58"/>
              <p:cNvSpPr txBox="1"/>
              <p:nvPr/>
            </p:nvSpPr>
            <p:spPr>
              <a:xfrm>
                <a:off x="9745395" y="298905"/>
                <a:ext cx="1868184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100" b="1" dirty="0">
                    <a:solidFill>
                      <a:srgbClr val="7C2D64"/>
                    </a:solidFill>
                    <a:latin typeface="华文新魏" panose="02010800040101010101" pitchFamily="2" charset="-122"/>
                    <a:ea typeface="华文新魏" panose="02010800040101010101" pitchFamily="2" charset="-122"/>
                  </a:rPr>
                  <a:t>重庆科技学院</a:t>
                </a:r>
              </a:p>
            </p:txBody>
          </p:sp>
          <p:sp>
            <p:nvSpPr>
              <p:cNvPr id="60" name="文本框 59"/>
              <p:cNvSpPr txBox="1"/>
              <p:nvPr/>
            </p:nvSpPr>
            <p:spPr>
              <a:xfrm>
                <a:off x="9383299" y="659955"/>
                <a:ext cx="2592376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800" b="1" dirty="0" smtClean="0">
                    <a:solidFill>
                      <a:srgbClr val="7C2D64"/>
                    </a:solidFill>
                  </a:rPr>
                  <a:t>Chongqing university of science and technology </a:t>
                </a:r>
                <a:endParaRPr lang="zh-CN" altLang="en-US" sz="800" b="1" dirty="0">
                  <a:solidFill>
                    <a:srgbClr val="7C2D64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7C2D64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26.png"/><Relationship Id="rId1" Type="http://schemas.openxmlformats.org/officeDocument/2006/relationships/tags" Target="../tags/tag1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uebenchmarks.com/index.html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73099" y="3349896"/>
            <a:ext cx="10845800" cy="405674"/>
          </a:xfrm>
        </p:spPr>
        <p:txBody>
          <a:bodyPr>
            <a:normAutofit/>
          </a:bodyPr>
          <a:lstStyle/>
          <a:p>
            <a:r>
              <a:rPr lang="en-US" altLang="zh-CN" dirty="0"/>
              <a:t>Natural language processing preprocessing technology</a:t>
            </a:r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zh-CN" altLang="en-US" dirty="0" smtClean="0"/>
              <a:t>自然语言处理 预处理技术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5137999" y="4839366"/>
            <a:ext cx="1916000" cy="353119"/>
          </a:xfrm>
        </p:spPr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分享</a:t>
            </a:r>
            <a:r>
              <a:rPr lang="zh-CN" altLang="en-US" dirty="0" smtClean="0">
                <a:cs typeface="+mn-ea"/>
                <a:sym typeface="+mn-lt"/>
              </a:rPr>
              <a:t>人</a:t>
            </a:r>
            <a:r>
              <a:rPr lang="zh-CN" altLang="en-US" dirty="0" smtClean="0">
                <a:cs typeface="+mn-ea"/>
                <a:sym typeface="+mn-lt"/>
              </a:rPr>
              <a:t>：</a:t>
            </a:r>
            <a:r>
              <a:rPr lang="zh-CN" altLang="en-US" dirty="0">
                <a:cs typeface="+mn-ea"/>
                <a:sym typeface="+mn-lt"/>
              </a:rPr>
              <a:t>胡庭恺</a:t>
            </a:r>
          </a:p>
        </p:txBody>
      </p:sp>
      <p:sp>
        <p:nvSpPr>
          <p:cNvPr id="10" name="箭头: V 形 9">
            <a:extLst>
              <a:ext uri="{FF2B5EF4-FFF2-40B4-BE49-F238E27FC236}">
                <a16:creationId xmlns:a16="http://schemas.microsoft.com/office/drawing/2014/main" id="{CF53B24B-B68F-46C2-82B5-66BEFA8AD1A9}"/>
              </a:ext>
            </a:extLst>
          </p:cNvPr>
          <p:cNvSpPr/>
          <p:nvPr/>
        </p:nvSpPr>
        <p:spPr>
          <a:xfrm>
            <a:off x="7155964" y="4839366"/>
            <a:ext cx="304800" cy="353119"/>
          </a:xfrm>
          <a:prstGeom prst="chevron">
            <a:avLst>
              <a:gd name="adj" fmla="val 56250"/>
            </a:avLst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箭头: V 形 10">
            <a:extLst>
              <a:ext uri="{FF2B5EF4-FFF2-40B4-BE49-F238E27FC236}">
                <a16:creationId xmlns:a16="http://schemas.microsoft.com/office/drawing/2014/main" id="{32238B27-D014-4803-90EA-52A97E5DBB7E}"/>
              </a:ext>
            </a:extLst>
          </p:cNvPr>
          <p:cNvSpPr/>
          <p:nvPr/>
        </p:nvSpPr>
        <p:spPr>
          <a:xfrm flipH="1">
            <a:off x="4731235" y="4839366"/>
            <a:ext cx="304800" cy="353119"/>
          </a:xfrm>
          <a:prstGeom prst="chevron">
            <a:avLst>
              <a:gd name="adj" fmla="val 56250"/>
            </a:avLst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2ED152F2-76A1-483C-A1CB-752307FE55FB}"/>
              </a:ext>
            </a:extLst>
          </p:cNvPr>
          <p:cNvCxnSpPr/>
          <p:nvPr/>
        </p:nvCxnSpPr>
        <p:spPr>
          <a:xfrm>
            <a:off x="6096000" y="3987346"/>
            <a:ext cx="0" cy="696686"/>
          </a:xfrm>
          <a:prstGeom prst="line">
            <a:avLst/>
          </a:prstGeom>
          <a:ln>
            <a:solidFill>
              <a:srgbClr val="7C2D64">
                <a:alpha val="5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B17FB852-ED79-4235-AF37-F997E8CC1005}"/>
              </a:ext>
            </a:extLst>
          </p:cNvPr>
          <p:cNvCxnSpPr>
            <a:cxnSpLocks/>
          </p:cNvCxnSpPr>
          <p:nvPr/>
        </p:nvCxnSpPr>
        <p:spPr>
          <a:xfrm>
            <a:off x="6096000" y="5424261"/>
            <a:ext cx="0" cy="700314"/>
          </a:xfrm>
          <a:prstGeom prst="line">
            <a:avLst/>
          </a:prstGeom>
          <a:ln>
            <a:solidFill>
              <a:srgbClr val="7C2D64">
                <a:alpha val="50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8BF4C364-6F64-46FC-B285-94FF61BA27E4}"/>
              </a:ext>
            </a:extLst>
          </p:cNvPr>
          <p:cNvCxnSpPr>
            <a:cxnSpLocks/>
          </p:cNvCxnSpPr>
          <p:nvPr/>
        </p:nvCxnSpPr>
        <p:spPr>
          <a:xfrm>
            <a:off x="6096000" y="409204"/>
            <a:ext cx="0" cy="200396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440212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j-ea"/>
                <a:sym typeface="+mn-lt"/>
              </a:rPr>
              <a:t>文本清洗方法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spc="100" dirty="0">
                <a:cs typeface="+mn-ea"/>
                <a:sym typeface="+mn-lt"/>
              </a:rPr>
              <a:t>Text cleaning method</a:t>
            </a: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F381C9F4-9864-40BC-B01A-015B98442A04}"/>
              </a:ext>
            </a:extLst>
          </p:cNvPr>
          <p:cNvSpPr/>
          <p:nvPr/>
        </p:nvSpPr>
        <p:spPr>
          <a:xfrm>
            <a:off x="5291684" y="803025"/>
            <a:ext cx="1608633" cy="1608633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6600" dirty="0">
                <a:cs typeface="+mn-ea"/>
                <a:sym typeface="+mn-lt"/>
              </a:rPr>
              <a:t>叁</a:t>
            </a:r>
            <a:endParaRPr lang="zh-CN" altLang="en-US" sz="6600" dirty="0">
              <a:cs typeface="+mn-ea"/>
              <a:sym typeface="+mn-lt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5451591" y="5908377"/>
            <a:ext cx="1288818" cy="108000"/>
            <a:chOff x="5569673" y="5908377"/>
            <a:chExt cx="1288818" cy="108000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D98FD99A-EFD0-4141-B733-9E7ED74FDA18}"/>
                </a:ext>
              </a:extLst>
            </p:cNvPr>
            <p:cNvSpPr/>
            <p:nvPr/>
          </p:nvSpPr>
          <p:spPr>
            <a:xfrm>
              <a:off x="5569673" y="5908377"/>
              <a:ext cx="108000" cy="108000"/>
            </a:xfrm>
            <a:prstGeom prst="ellipse">
              <a:avLst/>
            </a:prstGeom>
            <a:solidFill>
              <a:srgbClr val="FDFDFD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3C208640-08C5-402E-ACFC-188FE0D4F27B}"/>
                </a:ext>
              </a:extLst>
            </p:cNvPr>
            <p:cNvSpPr/>
            <p:nvPr/>
          </p:nvSpPr>
          <p:spPr>
            <a:xfrm>
              <a:off x="5805836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DE2ECDD2-6209-42D7-AAF9-EDB622256F50}"/>
                </a:ext>
              </a:extLst>
            </p:cNvPr>
            <p:cNvSpPr/>
            <p:nvPr/>
          </p:nvSpPr>
          <p:spPr>
            <a:xfrm>
              <a:off x="6042000" y="5908377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A9CE3EBB-608E-4FBF-85EF-9B447244FA8E}"/>
                </a:ext>
              </a:extLst>
            </p:cNvPr>
            <p:cNvSpPr/>
            <p:nvPr/>
          </p:nvSpPr>
          <p:spPr>
            <a:xfrm>
              <a:off x="6278163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514327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750491" y="5908377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8201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22295"/>
            <a:ext cx="10498931" cy="1028699"/>
          </a:xfrm>
        </p:spPr>
        <p:txBody>
          <a:bodyPr/>
          <a:lstStyle/>
          <a:p>
            <a:r>
              <a:rPr lang="zh-CN" altLang="en-US" dirty="0"/>
              <a:t>文本清洗方法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241674" y="1919030"/>
            <a:ext cx="17970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800" b="1" dirty="0"/>
              <a:t>无用</a:t>
            </a:r>
            <a:r>
              <a:rPr lang="zh-CN" altLang="en-US" sz="2800" b="1" dirty="0" smtClean="0"/>
              <a:t>符号</a:t>
            </a:r>
            <a:endParaRPr lang="zh-CN" altLang="en-US" sz="2800" b="1" dirty="0"/>
          </a:p>
        </p:txBody>
      </p:sp>
      <p:sp>
        <p:nvSpPr>
          <p:cNvPr id="9" name="矩形 8"/>
          <p:cNvSpPr/>
          <p:nvPr/>
        </p:nvSpPr>
        <p:spPr>
          <a:xfrm>
            <a:off x="3241674" y="2588217"/>
            <a:ext cx="26981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/>
              <a:t>特殊</a:t>
            </a:r>
            <a:r>
              <a:rPr lang="zh-CN" altLang="en-US" sz="2800" b="1" dirty="0"/>
              <a:t>的文本结构</a:t>
            </a:r>
            <a:endParaRPr lang="zh-CN" altLang="en-US" sz="2800" b="1" dirty="0"/>
          </a:p>
        </p:txBody>
      </p:sp>
      <p:sp>
        <p:nvSpPr>
          <p:cNvPr id="10" name="矩形 9"/>
          <p:cNvSpPr/>
          <p:nvPr/>
        </p:nvSpPr>
        <p:spPr>
          <a:xfrm>
            <a:off x="6143625" y="2688273"/>
            <a:ext cx="38779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latin typeface="-apple-system"/>
              </a:rPr>
              <a:t>比如网址、图片地址</a:t>
            </a:r>
            <a:r>
              <a:rPr lang="zh-CN" altLang="en-US" dirty="0" smtClean="0">
                <a:solidFill>
                  <a:srgbClr val="333333"/>
                </a:solidFill>
                <a:latin typeface="-apple-system"/>
              </a:rPr>
              <a:t>，</a:t>
            </a:r>
            <a:r>
              <a:rPr lang="en-US" altLang="zh-CN" dirty="0" smtClean="0">
                <a:solidFill>
                  <a:srgbClr val="333333"/>
                </a:solidFill>
                <a:latin typeface="-apple-system"/>
              </a:rPr>
              <a:t>html</a:t>
            </a:r>
            <a:r>
              <a:rPr lang="zh-CN" altLang="en-US" dirty="0" smtClean="0">
                <a:solidFill>
                  <a:srgbClr val="333333"/>
                </a:solidFill>
                <a:latin typeface="-apple-system"/>
              </a:rPr>
              <a:t>标记等</a:t>
            </a:r>
            <a:r>
              <a:rPr lang="zh-CN" altLang="en-US" dirty="0">
                <a:solidFill>
                  <a:srgbClr val="333333"/>
                </a:solidFill>
                <a:latin typeface="-apple-system"/>
              </a:rPr>
              <a:t>。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5038725" y="2070448"/>
            <a:ext cx="36471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>
                <a:solidFill>
                  <a:srgbClr val="333333"/>
                </a:solidFill>
                <a:latin typeface="-apple-system"/>
              </a:rPr>
              <a:t>比如</a:t>
            </a:r>
            <a:r>
              <a:rPr lang="zh-CN" altLang="en-US" dirty="0">
                <a:solidFill>
                  <a:srgbClr val="333333"/>
                </a:solidFill>
                <a:latin typeface="-apple-system"/>
              </a:rPr>
              <a:t>无效的字符、空白、乱码</a:t>
            </a:r>
            <a:r>
              <a:rPr lang="zh-CN" altLang="en-US" dirty="0" smtClean="0">
                <a:solidFill>
                  <a:srgbClr val="333333"/>
                </a:solidFill>
                <a:latin typeface="-apple-system"/>
              </a:rPr>
              <a:t>等</a:t>
            </a:r>
            <a:r>
              <a:rPr lang="zh-CN" altLang="en-US" dirty="0">
                <a:solidFill>
                  <a:srgbClr val="333333"/>
                </a:solidFill>
                <a:latin typeface="-apple-system"/>
              </a:rPr>
              <a:t>。</a:t>
            </a:r>
            <a:endParaRPr lang="zh-CN" altLang="en-US" dirty="0"/>
          </a:p>
        </p:txBody>
      </p:sp>
      <p:grpSp>
        <p:nvGrpSpPr>
          <p:cNvPr id="14" name="组合 13"/>
          <p:cNvGrpSpPr/>
          <p:nvPr/>
        </p:nvGrpSpPr>
        <p:grpSpPr>
          <a:xfrm>
            <a:off x="1364850" y="4262533"/>
            <a:ext cx="9974662" cy="1338828"/>
            <a:chOff x="669924" y="3662030"/>
            <a:chExt cx="9974662" cy="1338828"/>
          </a:xfrm>
        </p:grpSpPr>
        <p:sp>
          <p:nvSpPr>
            <p:cNvPr id="5" name="矩形 4"/>
            <p:cNvSpPr/>
            <p:nvPr/>
          </p:nvSpPr>
          <p:spPr>
            <a:xfrm>
              <a:off x="669924" y="3662030"/>
              <a:ext cx="4997451" cy="12894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dirty="0" smtClean="0"/>
                <a:t>结构化</a:t>
              </a:r>
              <a:r>
                <a:rPr lang="zh-CN" altLang="en-US" dirty="0"/>
                <a:t>数据：关系型数据、</a:t>
              </a:r>
              <a:r>
                <a:rPr lang="en-US" altLang="zh-CN" dirty="0" err="1" smtClean="0"/>
                <a:t>json</a:t>
              </a:r>
              <a:r>
                <a:rPr lang="zh-CN" altLang="en-US" dirty="0"/>
                <a:t>文件</a:t>
              </a:r>
              <a:r>
                <a:rPr lang="zh-CN" altLang="en-US" dirty="0" smtClean="0"/>
                <a:t>等</a:t>
              </a:r>
              <a:endParaRPr lang="zh-CN" altLang="en-US" dirty="0"/>
            </a:p>
            <a:p>
              <a:pPr>
                <a:lnSpc>
                  <a:spcPct val="150000"/>
                </a:lnSpc>
              </a:pPr>
              <a:r>
                <a:rPr lang="zh-CN" altLang="en-US" dirty="0"/>
                <a:t>半结构化数据：</a:t>
              </a:r>
              <a:r>
                <a:rPr lang="en-US" altLang="zh-CN" dirty="0"/>
                <a:t>XML</a:t>
              </a:r>
              <a:r>
                <a:rPr lang="zh-CN" altLang="en-US" dirty="0"/>
                <a:t>、</a:t>
              </a:r>
              <a:r>
                <a:rPr lang="en-US" altLang="zh-CN" dirty="0"/>
                <a:t>HTML</a:t>
              </a:r>
              <a:r>
                <a:rPr lang="zh-CN" altLang="en-US" dirty="0"/>
                <a:t>等</a:t>
              </a:r>
            </a:p>
            <a:p>
              <a:pPr>
                <a:lnSpc>
                  <a:spcPct val="150000"/>
                </a:lnSpc>
              </a:pPr>
              <a:r>
                <a:rPr lang="zh-CN" altLang="en-US" dirty="0"/>
                <a:t>非结构化数据：</a:t>
              </a:r>
              <a:r>
                <a:rPr lang="en-US" altLang="zh-CN" dirty="0"/>
                <a:t>Word</a:t>
              </a:r>
              <a:r>
                <a:rPr lang="zh-CN" altLang="en-US" dirty="0"/>
                <a:t>、</a:t>
              </a:r>
              <a:r>
                <a:rPr lang="en-US" altLang="zh-CN" dirty="0"/>
                <a:t>PDF</a:t>
              </a:r>
              <a:r>
                <a:rPr lang="zh-CN" altLang="en-US" dirty="0"/>
                <a:t>、文本、日志等</a:t>
              </a:r>
            </a:p>
          </p:txBody>
        </p:sp>
        <p:sp>
          <p:nvSpPr>
            <p:cNvPr id="13" name="矩形 12"/>
            <p:cNvSpPr/>
            <p:nvPr/>
          </p:nvSpPr>
          <p:spPr>
            <a:xfrm>
              <a:off x="6086475" y="3662030"/>
              <a:ext cx="4558111" cy="13388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dirty="0" err="1" smtClean="0"/>
                <a:t>lxml</a:t>
              </a:r>
              <a:r>
                <a:rPr lang="zh-CN" altLang="en-US" dirty="0" smtClean="0"/>
                <a:t>库：处理</a:t>
              </a:r>
              <a:r>
                <a:rPr lang="en-US" altLang="zh-CN" dirty="0" smtClean="0"/>
                <a:t>HTML</a:t>
              </a:r>
              <a:r>
                <a:rPr lang="zh-CN" altLang="en-US" dirty="0" smtClean="0"/>
                <a:t>、</a:t>
              </a:r>
              <a:r>
                <a:rPr lang="en-US" altLang="zh-CN" dirty="0" smtClean="0"/>
                <a:t>XML</a:t>
              </a:r>
              <a:r>
                <a:rPr lang="zh-CN" altLang="en-US" dirty="0" smtClean="0"/>
                <a:t>，</a:t>
              </a:r>
              <a:endParaRPr lang="en-US" altLang="zh-CN" dirty="0" smtClean="0"/>
            </a:p>
            <a:p>
              <a:pPr>
                <a:lnSpc>
                  <a:spcPct val="150000"/>
                </a:lnSpc>
              </a:pPr>
              <a:r>
                <a:rPr lang="en-US" altLang="zh-CN" dirty="0" smtClean="0"/>
                <a:t>pandas</a:t>
              </a:r>
              <a:r>
                <a:rPr lang="zh-CN" altLang="en-US" dirty="0" smtClean="0"/>
                <a:t>库：处理</a:t>
              </a:r>
              <a:r>
                <a:rPr lang="en-US" altLang="zh-CN" dirty="0" smtClean="0"/>
                <a:t>TXT</a:t>
              </a:r>
              <a:r>
                <a:rPr lang="zh-CN" altLang="en-US" dirty="0" smtClean="0"/>
                <a:t>、</a:t>
              </a:r>
              <a:r>
                <a:rPr lang="en-US" altLang="zh-CN" dirty="0" smtClean="0"/>
                <a:t>CSV</a:t>
              </a:r>
              <a:r>
                <a:rPr lang="zh-CN" altLang="en-US" dirty="0" smtClean="0"/>
                <a:t>文件</a:t>
              </a:r>
              <a:endParaRPr lang="en-US" altLang="zh-CN" dirty="0" smtClean="0"/>
            </a:p>
            <a:p>
              <a:pPr>
                <a:lnSpc>
                  <a:spcPct val="150000"/>
                </a:lnSpc>
              </a:pPr>
              <a:r>
                <a:rPr lang="en-US" altLang="zh-CN" dirty="0" smtClean="0"/>
                <a:t>re</a:t>
              </a:r>
              <a:r>
                <a:rPr lang="zh-CN" altLang="en-US" dirty="0" smtClean="0"/>
                <a:t>库：正则表达式处理日志</a:t>
              </a:r>
              <a:r>
                <a:rPr lang="zh-CN" altLang="en-US" dirty="0"/>
                <a:t>或纯文本</a:t>
              </a:r>
              <a:r>
                <a:rPr lang="zh-CN" altLang="en-US" dirty="0" smtClean="0"/>
                <a:t>数据</a:t>
              </a:r>
              <a:endParaRPr lang="zh-CN" alt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5047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zh-CN" altLang="en-US" dirty="0"/>
              <a:t>文本清洗方法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69605" y="2101091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 smtClean="0"/>
              <a:t>windows</a:t>
            </a:r>
            <a:r>
              <a:rPr lang="zh-CN" altLang="en-US" dirty="0" smtClean="0"/>
              <a:t>平台下</a:t>
            </a:r>
            <a:r>
              <a:rPr lang="zh-CN" altLang="en-US" dirty="0"/>
              <a:t>中文的默认</a:t>
            </a:r>
            <a:r>
              <a:rPr lang="zh-CN" altLang="en-US" dirty="0" smtClean="0"/>
              <a:t>编码：是</a:t>
            </a:r>
            <a:r>
              <a:rPr lang="en-US" altLang="zh-CN" dirty="0"/>
              <a:t>GBK</a:t>
            </a:r>
            <a:r>
              <a:rPr lang="zh-CN" altLang="en-US" dirty="0"/>
              <a:t>（</a:t>
            </a:r>
            <a:r>
              <a:rPr lang="en-US" altLang="zh-CN" dirty="0"/>
              <a:t>gb2312</a:t>
            </a:r>
            <a:r>
              <a:rPr lang="zh-CN" altLang="en-US" dirty="0" smtClean="0"/>
              <a:t>），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dirty="0" err="1" smtClean="0"/>
              <a:t>linux</a:t>
            </a:r>
            <a:r>
              <a:rPr lang="zh-CN" altLang="en-US" dirty="0"/>
              <a:t>平台下中文的默认编码是</a:t>
            </a:r>
            <a:r>
              <a:rPr lang="en-US" altLang="zh-CN" dirty="0" smtClean="0"/>
              <a:t>UTF-8</a:t>
            </a:r>
          </a:p>
          <a:p>
            <a:pPr>
              <a:lnSpc>
                <a:spcPct val="150000"/>
              </a:lnSpc>
            </a:pPr>
            <a:r>
              <a:rPr lang="zh-CN" altLang="en-US" dirty="0" smtClean="0"/>
              <a:t>在</a:t>
            </a:r>
            <a:r>
              <a:rPr lang="zh-CN" altLang="en-US" dirty="0"/>
              <a:t>执行</a:t>
            </a:r>
            <a:r>
              <a:rPr lang="en-US" altLang="zh-CN" dirty="0"/>
              <a:t>NLP</a:t>
            </a:r>
            <a:r>
              <a:rPr lang="zh-CN" altLang="en-US" dirty="0"/>
              <a:t>任务之前</a:t>
            </a:r>
            <a:r>
              <a:rPr lang="zh-CN" altLang="en-US" dirty="0" smtClean="0"/>
              <a:t>，需要</a:t>
            </a:r>
            <a:r>
              <a:rPr lang="zh-CN" altLang="en-US" dirty="0"/>
              <a:t>统一不同来源语料的</a:t>
            </a:r>
            <a:r>
              <a:rPr lang="zh-CN" altLang="en-US" dirty="0" smtClean="0"/>
              <a:t>编码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推荐使用</a:t>
            </a:r>
            <a:r>
              <a:rPr lang="en-US" altLang="zh-CN" dirty="0"/>
              <a:t>python</a:t>
            </a:r>
            <a:r>
              <a:rPr lang="zh-CN" altLang="en-US" dirty="0"/>
              <a:t>的</a:t>
            </a:r>
            <a:r>
              <a:rPr lang="en-US" altLang="zh-CN" dirty="0" err="1"/>
              <a:t>chardet</a:t>
            </a:r>
            <a:r>
              <a:rPr lang="zh-CN" altLang="en-US" dirty="0"/>
              <a:t>库，来确定</a:t>
            </a:r>
            <a:r>
              <a:rPr lang="zh-CN" altLang="en-US" dirty="0" smtClean="0"/>
              <a:t>编码</a:t>
            </a: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151" y="4122312"/>
            <a:ext cx="5295238" cy="1752381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769605" y="1444424"/>
            <a:ext cx="377539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 smtClean="0"/>
              <a:t>注意：中文</a:t>
            </a:r>
            <a:r>
              <a:rPr lang="zh-CN" altLang="en-US" sz="2800" b="1" dirty="0"/>
              <a:t>的编码问题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6607174" y="1492244"/>
            <a:ext cx="4913313" cy="4494212"/>
            <a:chOff x="3632201" y="1322388"/>
            <a:chExt cx="4913313" cy="4494212"/>
          </a:xfrm>
        </p:grpSpPr>
        <p:sp>
          <p:nvSpPr>
            <p:cNvPr id="11" name="任意多边形 10">
              <a:extLst>
                <a:ext uri="{FF2B5EF4-FFF2-40B4-BE49-F238E27FC236}">
                  <a16:creationId xmlns:a16="http://schemas.microsoft.com/office/drawing/2014/main" id="{E45F7826-9F8E-41BB-9B57-77EBDE298A8B}"/>
                </a:ext>
              </a:extLst>
            </p:cNvPr>
            <p:cNvSpPr/>
            <p:nvPr/>
          </p:nvSpPr>
          <p:spPr bwMode="auto">
            <a:xfrm>
              <a:off x="3632201" y="3983038"/>
              <a:ext cx="176213" cy="101600"/>
            </a:xfrm>
            <a:custGeom>
              <a:avLst/>
              <a:gdLst>
                <a:gd name="T0" fmla="*/ 55 w 67"/>
                <a:gd name="T1" fmla="*/ 7 h 39"/>
                <a:gd name="T2" fmla="*/ 55 w 67"/>
                <a:gd name="T3" fmla="*/ 32 h 39"/>
                <a:gd name="T4" fmla="*/ 12 w 67"/>
                <a:gd name="T5" fmla="*/ 32 h 39"/>
                <a:gd name="T6" fmla="*/ 12 w 67"/>
                <a:gd name="T7" fmla="*/ 7 h 39"/>
                <a:gd name="T8" fmla="*/ 55 w 67"/>
                <a:gd name="T9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39">
                  <a:moveTo>
                    <a:pt x="55" y="7"/>
                  </a:moveTo>
                  <a:cubicBezTo>
                    <a:pt x="67" y="14"/>
                    <a:pt x="67" y="25"/>
                    <a:pt x="55" y="32"/>
                  </a:cubicBezTo>
                  <a:cubicBezTo>
                    <a:pt x="43" y="39"/>
                    <a:pt x="24" y="39"/>
                    <a:pt x="12" y="32"/>
                  </a:cubicBezTo>
                  <a:cubicBezTo>
                    <a:pt x="0" y="25"/>
                    <a:pt x="0" y="14"/>
                    <a:pt x="12" y="7"/>
                  </a:cubicBezTo>
                  <a:cubicBezTo>
                    <a:pt x="24" y="0"/>
                    <a:pt x="43" y="0"/>
                    <a:pt x="55" y="7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任意多边形 11">
              <a:extLst>
                <a:ext uri="{FF2B5EF4-FFF2-40B4-BE49-F238E27FC236}">
                  <a16:creationId xmlns:a16="http://schemas.microsoft.com/office/drawing/2014/main" id="{E9CA8919-A162-4B40-BD44-D8EE2C4010B5}"/>
                </a:ext>
              </a:extLst>
            </p:cNvPr>
            <p:cNvSpPr/>
            <p:nvPr/>
          </p:nvSpPr>
          <p:spPr bwMode="auto">
            <a:xfrm>
              <a:off x="5870576" y="4068763"/>
              <a:ext cx="142875" cy="84138"/>
            </a:xfrm>
            <a:custGeom>
              <a:avLst/>
              <a:gdLst>
                <a:gd name="T0" fmla="*/ 10 w 55"/>
                <a:gd name="T1" fmla="*/ 3 h 32"/>
                <a:gd name="T2" fmla="*/ 22 w 55"/>
                <a:gd name="T3" fmla="*/ 5 h 32"/>
                <a:gd name="T4" fmla="*/ 25 w 55"/>
                <a:gd name="T5" fmla="*/ 5 h 32"/>
                <a:gd name="T6" fmla="*/ 36 w 55"/>
                <a:gd name="T7" fmla="*/ 1 h 32"/>
                <a:gd name="T8" fmla="*/ 41 w 55"/>
                <a:gd name="T9" fmla="*/ 2 h 32"/>
                <a:gd name="T10" fmla="*/ 41 w 55"/>
                <a:gd name="T11" fmla="*/ 10 h 32"/>
                <a:gd name="T12" fmla="*/ 42 w 55"/>
                <a:gd name="T13" fmla="*/ 11 h 32"/>
                <a:gd name="T14" fmla="*/ 53 w 55"/>
                <a:gd name="T15" fmla="*/ 16 h 32"/>
                <a:gd name="T16" fmla="*/ 52 w 55"/>
                <a:gd name="T17" fmla="*/ 19 h 32"/>
                <a:gd name="T18" fmla="*/ 39 w 55"/>
                <a:gd name="T19" fmla="*/ 21 h 32"/>
                <a:gd name="T20" fmla="*/ 37 w 55"/>
                <a:gd name="T21" fmla="*/ 23 h 32"/>
                <a:gd name="T22" fmla="*/ 33 w 55"/>
                <a:gd name="T23" fmla="*/ 30 h 32"/>
                <a:gd name="T24" fmla="*/ 28 w 55"/>
                <a:gd name="T25" fmla="*/ 30 h 32"/>
                <a:gd name="T26" fmla="*/ 20 w 55"/>
                <a:gd name="T27" fmla="*/ 24 h 32"/>
                <a:gd name="T28" fmla="*/ 17 w 55"/>
                <a:gd name="T29" fmla="*/ 23 h 32"/>
                <a:gd name="T30" fmla="*/ 4 w 55"/>
                <a:gd name="T31" fmla="*/ 23 h 32"/>
                <a:gd name="T32" fmla="*/ 1 w 55"/>
                <a:gd name="T33" fmla="*/ 20 h 32"/>
                <a:gd name="T34" fmla="*/ 9 w 55"/>
                <a:gd name="T35" fmla="*/ 14 h 32"/>
                <a:gd name="T36" fmla="*/ 10 w 55"/>
                <a:gd name="T37" fmla="*/ 13 h 32"/>
                <a:gd name="T38" fmla="*/ 6 w 55"/>
                <a:gd name="T39" fmla="*/ 5 h 32"/>
                <a:gd name="T40" fmla="*/ 10 w 55"/>
                <a:gd name="T4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10" y="3"/>
                  </a:moveTo>
                  <a:cubicBezTo>
                    <a:pt x="22" y="5"/>
                    <a:pt x="22" y="5"/>
                    <a:pt x="22" y="5"/>
                  </a:cubicBezTo>
                  <a:cubicBezTo>
                    <a:pt x="23" y="6"/>
                    <a:pt x="24" y="5"/>
                    <a:pt x="25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2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11"/>
                    <a:pt x="42" y="11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5" y="19"/>
                    <a:pt x="52" y="19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8" y="22"/>
                    <a:pt x="37" y="23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29" y="32"/>
                    <a:pt x="28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9" y="24"/>
                    <a:pt x="18" y="23"/>
                    <a:pt x="1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1" y="23"/>
                    <a:pt x="0" y="22"/>
                    <a:pt x="1" y="20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3"/>
                    <a:pt x="10" y="1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4"/>
                    <a:pt x="7" y="2"/>
                    <a:pt x="10" y="3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任意多边形 12">
              <a:extLst>
                <a:ext uri="{FF2B5EF4-FFF2-40B4-BE49-F238E27FC236}">
                  <a16:creationId xmlns:a16="http://schemas.microsoft.com/office/drawing/2014/main" id="{8CA28B2C-685F-4F5D-956B-102408ADA5DA}"/>
                </a:ext>
              </a:extLst>
            </p:cNvPr>
            <p:cNvSpPr/>
            <p:nvPr/>
          </p:nvSpPr>
          <p:spPr bwMode="auto">
            <a:xfrm>
              <a:off x="6008689" y="3987801"/>
              <a:ext cx="146050" cy="84138"/>
            </a:xfrm>
            <a:custGeom>
              <a:avLst/>
              <a:gdLst>
                <a:gd name="T0" fmla="*/ 10 w 56"/>
                <a:gd name="T1" fmla="*/ 3 h 32"/>
                <a:gd name="T2" fmla="*/ 23 w 56"/>
                <a:gd name="T3" fmla="*/ 6 h 32"/>
                <a:gd name="T4" fmla="*/ 26 w 56"/>
                <a:gd name="T5" fmla="*/ 5 h 32"/>
                <a:gd name="T6" fmla="*/ 36 w 56"/>
                <a:gd name="T7" fmla="*/ 1 h 32"/>
                <a:gd name="T8" fmla="*/ 41 w 56"/>
                <a:gd name="T9" fmla="*/ 2 h 32"/>
                <a:gd name="T10" fmla="*/ 41 w 56"/>
                <a:gd name="T11" fmla="*/ 10 h 32"/>
                <a:gd name="T12" fmla="*/ 43 w 56"/>
                <a:gd name="T13" fmla="*/ 11 h 32"/>
                <a:gd name="T14" fmla="*/ 53 w 56"/>
                <a:gd name="T15" fmla="*/ 16 h 32"/>
                <a:gd name="T16" fmla="*/ 52 w 56"/>
                <a:gd name="T17" fmla="*/ 19 h 32"/>
                <a:gd name="T18" fmla="*/ 40 w 56"/>
                <a:gd name="T19" fmla="*/ 21 h 32"/>
                <a:gd name="T20" fmla="*/ 38 w 56"/>
                <a:gd name="T21" fmla="*/ 23 h 32"/>
                <a:gd name="T22" fmla="*/ 34 w 56"/>
                <a:gd name="T23" fmla="*/ 30 h 32"/>
                <a:gd name="T24" fmla="*/ 28 w 56"/>
                <a:gd name="T25" fmla="*/ 30 h 32"/>
                <a:gd name="T26" fmla="*/ 20 w 56"/>
                <a:gd name="T27" fmla="*/ 24 h 32"/>
                <a:gd name="T28" fmla="*/ 18 w 56"/>
                <a:gd name="T29" fmla="*/ 23 h 32"/>
                <a:gd name="T30" fmla="*/ 5 w 56"/>
                <a:gd name="T31" fmla="*/ 24 h 32"/>
                <a:gd name="T32" fmla="*/ 2 w 56"/>
                <a:gd name="T33" fmla="*/ 21 h 32"/>
                <a:gd name="T34" fmla="*/ 10 w 56"/>
                <a:gd name="T35" fmla="*/ 14 h 32"/>
                <a:gd name="T36" fmla="*/ 10 w 56"/>
                <a:gd name="T37" fmla="*/ 13 h 32"/>
                <a:gd name="T38" fmla="*/ 6 w 56"/>
                <a:gd name="T39" fmla="*/ 6 h 32"/>
                <a:gd name="T40" fmla="*/ 10 w 56"/>
                <a:gd name="T4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32">
                  <a:moveTo>
                    <a:pt x="10" y="3"/>
                  </a:moveTo>
                  <a:cubicBezTo>
                    <a:pt x="23" y="6"/>
                    <a:pt x="23" y="6"/>
                    <a:pt x="23" y="6"/>
                  </a:cubicBezTo>
                  <a:cubicBezTo>
                    <a:pt x="24" y="6"/>
                    <a:pt x="25" y="6"/>
                    <a:pt x="26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2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2" y="11"/>
                    <a:pt x="43" y="11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6" y="17"/>
                    <a:pt x="55" y="19"/>
                    <a:pt x="52" y="19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39" y="22"/>
                    <a:pt x="38" y="22"/>
                    <a:pt x="38" y="23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1"/>
                    <a:pt x="30" y="32"/>
                    <a:pt x="28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19" y="23"/>
                    <a:pt x="18" y="23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2"/>
                    <a:pt x="2" y="21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3"/>
                    <a:pt x="10" y="13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4"/>
                    <a:pt x="8" y="3"/>
                    <a:pt x="10" y="3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 13">
              <a:extLst>
                <a:ext uri="{FF2B5EF4-FFF2-40B4-BE49-F238E27FC236}">
                  <a16:creationId xmlns:a16="http://schemas.microsoft.com/office/drawing/2014/main" id="{712DA185-46E4-4EBD-8CF7-BC39CDCC4631}"/>
                </a:ext>
              </a:extLst>
            </p:cNvPr>
            <p:cNvSpPr/>
            <p:nvPr/>
          </p:nvSpPr>
          <p:spPr bwMode="auto">
            <a:xfrm>
              <a:off x="6149976" y="3906838"/>
              <a:ext cx="142875" cy="84138"/>
            </a:xfrm>
            <a:custGeom>
              <a:avLst/>
              <a:gdLst>
                <a:gd name="T0" fmla="*/ 10 w 55"/>
                <a:gd name="T1" fmla="*/ 3 h 32"/>
                <a:gd name="T2" fmla="*/ 22 w 55"/>
                <a:gd name="T3" fmla="*/ 6 h 32"/>
                <a:gd name="T4" fmla="*/ 25 w 55"/>
                <a:gd name="T5" fmla="*/ 5 h 32"/>
                <a:gd name="T6" fmla="*/ 36 w 55"/>
                <a:gd name="T7" fmla="*/ 1 h 32"/>
                <a:gd name="T8" fmla="*/ 41 w 55"/>
                <a:gd name="T9" fmla="*/ 2 h 32"/>
                <a:gd name="T10" fmla="*/ 41 w 55"/>
                <a:gd name="T11" fmla="*/ 10 h 32"/>
                <a:gd name="T12" fmla="*/ 42 w 55"/>
                <a:gd name="T13" fmla="*/ 12 h 32"/>
                <a:gd name="T14" fmla="*/ 53 w 55"/>
                <a:gd name="T15" fmla="*/ 16 h 32"/>
                <a:gd name="T16" fmla="*/ 52 w 55"/>
                <a:gd name="T17" fmla="*/ 19 h 32"/>
                <a:gd name="T18" fmla="*/ 39 w 55"/>
                <a:gd name="T19" fmla="*/ 22 h 32"/>
                <a:gd name="T20" fmla="*/ 37 w 55"/>
                <a:gd name="T21" fmla="*/ 23 h 32"/>
                <a:gd name="T22" fmla="*/ 33 w 55"/>
                <a:gd name="T23" fmla="*/ 30 h 32"/>
                <a:gd name="T24" fmla="*/ 27 w 55"/>
                <a:gd name="T25" fmla="*/ 31 h 32"/>
                <a:gd name="T26" fmla="*/ 20 w 55"/>
                <a:gd name="T27" fmla="*/ 24 h 32"/>
                <a:gd name="T28" fmla="*/ 17 w 55"/>
                <a:gd name="T29" fmla="*/ 24 h 32"/>
                <a:gd name="T30" fmla="*/ 4 w 55"/>
                <a:gd name="T31" fmla="*/ 24 h 32"/>
                <a:gd name="T32" fmla="*/ 1 w 55"/>
                <a:gd name="T33" fmla="*/ 21 h 32"/>
                <a:gd name="T34" fmla="*/ 9 w 55"/>
                <a:gd name="T35" fmla="*/ 15 h 32"/>
                <a:gd name="T36" fmla="*/ 10 w 55"/>
                <a:gd name="T37" fmla="*/ 13 h 32"/>
                <a:gd name="T38" fmla="*/ 5 w 55"/>
                <a:gd name="T39" fmla="*/ 6 h 32"/>
                <a:gd name="T40" fmla="*/ 10 w 55"/>
                <a:gd name="T4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10" y="3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4" y="6"/>
                    <a:pt x="25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2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1"/>
                    <a:pt x="41" y="11"/>
                    <a:pt x="42" y="1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4" y="19"/>
                    <a:pt x="52" y="1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7" y="22"/>
                    <a:pt x="37" y="23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2" y="32"/>
                    <a:pt x="29" y="32"/>
                    <a:pt x="27" y="31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9" y="24"/>
                    <a:pt x="18" y="24"/>
                    <a:pt x="17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" y="24"/>
                    <a:pt x="0" y="22"/>
                    <a:pt x="1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4"/>
                    <a:pt x="10" y="13"/>
                    <a:pt x="10" y="1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4"/>
                    <a:pt x="7" y="3"/>
                    <a:pt x="10" y="3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任意多边形 14">
              <a:extLst>
                <a:ext uri="{FF2B5EF4-FFF2-40B4-BE49-F238E27FC236}">
                  <a16:creationId xmlns:a16="http://schemas.microsoft.com/office/drawing/2014/main" id="{00ACD6D5-E812-42E4-A3C3-503920A04E15}"/>
                </a:ext>
              </a:extLst>
            </p:cNvPr>
            <p:cNvSpPr/>
            <p:nvPr/>
          </p:nvSpPr>
          <p:spPr bwMode="auto">
            <a:xfrm>
              <a:off x="6288089" y="3827463"/>
              <a:ext cx="142875" cy="82550"/>
            </a:xfrm>
            <a:custGeom>
              <a:avLst/>
              <a:gdLst>
                <a:gd name="T0" fmla="*/ 10 w 55"/>
                <a:gd name="T1" fmla="*/ 3 h 32"/>
                <a:gd name="T2" fmla="*/ 22 w 55"/>
                <a:gd name="T3" fmla="*/ 6 h 32"/>
                <a:gd name="T4" fmla="*/ 25 w 55"/>
                <a:gd name="T5" fmla="*/ 6 h 32"/>
                <a:gd name="T6" fmla="*/ 36 w 55"/>
                <a:gd name="T7" fmla="*/ 1 h 32"/>
                <a:gd name="T8" fmla="*/ 41 w 55"/>
                <a:gd name="T9" fmla="*/ 3 h 32"/>
                <a:gd name="T10" fmla="*/ 41 w 55"/>
                <a:gd name="T11" fmla="*/ 10 h 32"/>
                <a:gd name="T12" fmla="*/ 42 w 55"/>
                <a:gd name="T13" fmla="*/ 12 h 32"/>
                <a:gd name="T14" fmla="*/ 53 w 55"/>
                <a:gd name="T15" fmla="*/ 16 h 32"/>
                <a:gd name="T16" fmla="*/ 52 w 55"/>
                <a:gd name="T17" fmla="*/ 20 h 32"/>
                <a:gd name="T18" fmla="*/ 40 w 55"/>
                <a:gd name="T19" fmla="*/ 22 h 32"/>
                <a:gd name="T20" fmla="*/ 38 w 55"/>
                <a:gd name="T21" fmla="*/ 23 h 32"/>
                <a:gd name="T22" fmla="*/ 34 w 55"/>
                <a:gd name="T23" fmla="*/ 30 h 32"/>
                <a:gd name="T24" fmla="*/ 28 w 55"/>
                <a:gd name="T25" fmla="*/ 31 h 32"/>
                <a:gd name="T26" fmla="*/ 20 w 55"/>
                <a:gd name="T27" fmla="*/ 25 h 32"/>
                <a:gd name="T28" fmla="*/ 18 w 55"/>
                <a:gd name="T29" fmla="*/ 24 h 32"/>
                <a:gd name="T30" fmla="*/ 4 w 55"/>
                <a:gd name="T31" fmla="*/ 24 h 32"/>
                <a:gd name="T32" fmla="*/ 2 w 55"/>
                <a:gd name="T33" fmla="*/ 21 h 32"/>
                <a:gd name="T34" fmla="*/ 10 w 55"/>
                <a:gd name="T35" fmla="*/ 15 h 32"/>
                <a:gd name="T36" fmla="*/ 10 w 55"/>
                <a:gd name="T37" fmla="*/ 13 h 32"/>
                <a:gd name="T38" fmla="*/ 6 w 55"/>
                <a:gd name="T39" fmla="*/ 6 h 32"/>
                <a:gd name="T40" fmla="*/ 10 w 55"/>
                <a:gd name="T4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10" y="3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5" y="6"/>
                    <a:pt x="25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3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1"/>
                    <a:pt x="42" y="11"/>
                    <a:pt x="42" y="1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5" y="19"/>
                    <a:pt x="52" y="20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9" y="22"/>
                    <a:pt x="38" y="22"/>
                    <a:pt x="38" y="23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2"/>
                    <a:pt x="29" y="32"/>
                    <a:pt x="28" y="3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4"/>
                    <a:pt x="19" y="24"/>
                    <a:pt x="18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2" y="2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4"/>
                    <a:pt x="10" y="14"/>
                    <a:pt x="10" y="13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4"/>
                    <a:pt x="7" y="3"/>
                    <a:pt x="10" y="3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任意多边形 15">
              <a:extLst>
                <a:ext uri="{FF2B5EF4-FFF2-40B4-BE49-F238E27FC236}">
                  <a16:creationId xmlns:a16="http://schemas.microsoft.com/office/drawing/2014/main" id="{DD7283E6-BD35-4161-A203-2D225C3DB065}"/>
                </a:ext>
              </a:extLst>
            </p:cNvPr>
            <p:cNvSpPr/>
            <p:nvPr/>
          </p:nvSpPr>
          <p:spPr bwMode="auto">
            <a:xfrm>
              <a:off x="6427789" y="3746501"/>
              <a:ext cx="144463" cy="82550"/>
            </a:xfrm>
            <a:custGeom>
              <a:avLst/>
              <a:gdLst>
                <a:gd name="T0" fmla="*/ 9 w 55"/>
                <a:gd name="T1" fmla="*/ 4 h 32"/>
                <a:gd name="T2" fmla="*/ 22 w 55"/>
                <a:gd name="T3" fmla="*/ 6 h 32"/>
                <a:gd name="T4" fmla="*/ 25 w 55"/>
                <a:gd name="T5" fmla="*/ 6 h 32"/>
                <a:gd name="T6" fmla="*/ 35 w 55"/>
                <a:gd name="T7" fmla="*/ 1 h 32"/>
                <a:gd name="T8" fmla="*/ 41 w 55"/>
                <a:gd name="T9" fmla="*/ 3 h 32"/>
                <a:gd name="T10" fmla="*/ 40 w 55"/>
                <a:gd name="T11" fmla="*/ 10 h 32"/>
                <a:gd name="T12" fmla="*/ 42 w 55"/>
                <a:gd name="T13" fmla="*/ 12 h 32"/>
                <a:gd name="T14" fmla="*/ 53 w 55"/>
                <a:gd name="T15" fmla="*/ 16 h 32"/>
                <a:gd name="T16" fmla="*/ 52 w 55"/>
                <a:gd name="T17" fmla="*/ 20 h 32"/>
                <a:gd name="T18" fmla="*/ 39 w 55"/>
                <a:gd name="T19" fmla="*/ 22 h 32"/>
                <a:gd name="T20" fmla="*/ 37 w 55"/>
                <a:gd name="T21" fmla="*/ 23 h 32"/>
                <a:gd name="T22" fmla="*/ 33 w 55"/>
                <a:gd name="T23" fmla="*/ 30 h 32"/>
                <a:gd name="T24" fmla="*/ 27 w 55"/>
                <a:gd name="T25" fmla="*/ 31 h 32"/>
                <a:gd name="T26" fmla="*/ 20 w 55"/>
                <a:gd name="T27" fmla="*/ 25 h 32"/>
                <a:gd name="T28" fmla="*/ 17 w 55"/>
                <a:gd name="T29" fmla="*/ 24 h 32"/>
                <a:gd name="T30" fmla="*/ 4 w 55"/>
                <a:gd name="T31" fmla="*/ 24 h 32"/>
                <a:gd name="T32" fmla="*/ 1 w 55"/>
                <a:gd name="T33" fmla="*/ 21 h 32"/>
                <a:gd name="T34" fmla="*/ 9 w 55"/>
                <a:gd name="T35" fmla="*/ 15 h 32"/>
                <a:gd name="T36" fmla="*/ 9 w 55"/>
                <a:gd name="T37" fmla="*/ 13 h 32"/>
                <a:gd name="T38" fmla="*/ 5 w 55"/>
                <a:gd name="T39" fmla="*/ 6 h 32"/>
                <a:gd name="T40" fmla="*/ 9 w 55"/>
                <a:gd name="T41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9" y="4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4" y="6"/>
                    <a:pt x="25" y="6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8" y="0"/>
                    <a:pt x="41" y="1"/>
                    <a:pt x="41" y="3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1"/>
                    <a:pt x="41" y="12"/>
                    <a:pt x="42" y="1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4" y="19"/>
                    <a:pt x="52" y="20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7" y="23"/>
                    <a:pt x="37" y="23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2" y="32"/>
                    <a:pt x="29" y="32"/>
                    <a:pt x="27" y="3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4"/>
                    <a:pt x="18" y="24"/>
                    <a:pt x="17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" y="24"/>
                    <a:pt x="0" y="22"/>
                    <a:pt x="1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4"/>
                    <a:pt x="10" y="14"/>
                    <a:pt x="9" y="1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5"/>
                    <a:pt x="7" y="3"/>
                    <a:pt x="9" y="4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任意多边形 16">
              <a:extLst>
                <a:ext uri="{FF2B5EF4-FFF2-40B4-BE49-F238E27FC236}">
                  <a16:creationId xmlns:a16="http://schemas.microsoft.com/office/drawing/2014/main" id="{33891D63-34E1-449D-92C8-A58202316FF7}"/>
                </a:ext>
              </a:extLst>
            </p:cNvPr>
            <p:cNvSpPr/>
            <p:nvPr/>
          </p:nvSpPr>
          <p:spPr bwMode="auto">
            <a:xfrm>
              <a:off x="4641851" y="4206876"/>
              <a:ext cx="144463" cy="84138"/>
            </a:xfrm>
            <a:custGeom>
              <a:avLst/>
              <a:gdLst>
                <a:gd name="T0" fmla="*/ 10 w 55"/>
                <a:gd name="T1" fmla="*/ 3 h 32"/>
                <a:gd name="T2" fmla="*/ 22 w 55"/>
                <a:gd name="T3" fmla="*/ 6 h 32"/>
                <a:gd name="T4" fmla="*/ 25 w 55"/>
                <a:gd name="T5" fmla="*/ 6 h 32"/>
                <a:gd name="T6" fmla="*/ 36 w 55"/>
                <a:gd name="T7" fmla="*/ 1 h 32"/>
                <a:gd name="T8" fmla="*/ 41 w 55"/>
                <a:gd name="T9" fmla="*/ 3 h 32"/>
                <a:gd name="T10" fmla="*/ 41 w 55"/>
                <a:gd name="T11" fmla="*/ 10 h 32"/>
                <a:gd name="T12" fmla="*/ 42 w 55"/>
                <a:gd name="T13" fmla="*/ 12 h 32"/>
                <a:gd name="T14" fmla="*/ 53 w 55"/>
                <a:gd name="T15" fmla="*/ 16 h 32"/>
                <a:gd name="T16" fmla="*/ 52 w 55"/>
                <a:gd name="T17" fmla="*/ 19 h 32"/>
                <a:gd name="T18" fmla="*/ 40 w 55"/>
                <a:gd name="T19" fmla="*/ 22 h 32"/>
                <a:gd name="T20" fmla="*/ 38 w 55"/>
                <a:gd name="T21" fmla="*/ 23 h 32"/>
                <a:gd name="T22" fmla="*/ 34 w 55"/>
                <a:gd name="T23" fmla="*/ 30 h 32"/>
                <a:gd name="T24" fmla="*/ 28 w 55"/>
                <a:gd name="T25" fmla="*/ 31 h 32"/>
                <a:gd name="T26" fmla="*/ 20 w 55"/>
                <a:gd name="T27" fmla="*/ 24 h 32"/>
                <a:gd name="T28" fmla="*/ 18 w 55"/>
                <a:gd name="T29" fmla="*/ 24 h 32"/>
                <a:gd name="T30" fmla="*/ 4 w 55"/>
                <a:gd name="T31" fmla="*/ 24 h 32"/>
                <a:gd name="T32" fmla="*/ 2 w 55"/>
                <a:gd name="T33" fmla="*/ 21 h 32"/>
                <a:gd name="T34" fmla="*/ 10 w 55"/>
                <a:gd name="T35" fmla="*/ 15 h 32"/>
                <a:gd name="T36" fmla="*/ 10 w 55"/>
                <a:gd name="T37" fmla="*/ 13 h 32"/>
                <a:gd name="T38" fmla="*/ 6 w 55"/>
                <a:gd name="T39" fmla="*/ 6 h 32"/>
                <a:gd name="T40" fmla="*/ 10 w 55"/>
                <a:gd name="T4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10" y="3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5" y="6"/>
                    <a:pt x="25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3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1"/>
                    <a:pt x="42" y="11"/>
                    <a:pt x="42" y="1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5" y="19"/>
                    <a:pt x="52" y="19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9" y="22"/>
                    <a:pt x="38" y="22"/>
                    <a:pt x="38" y="23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2"/>
                    <a:pt x="29" y="32"/>
                    <a:pt x="28" y="31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19" y="24"/>
                    <a:pt x="18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4"/>
                    <a:pt x="0" y="22"/>
                    <a:pt x="2" y="2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4"/>
                    <a:pt x="10" y="14"/>
                    <a:pt x="10" y="13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4"/>
                    <a:pt x="7" y="3"/>
                    <a:pt x="10" y="3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任意多边形 17">
              <a:extLst>
                <a:ext uri="{FF2B5EF4-FFF2-40B4-BE49-F238E27FC236}">
                  <a16:creationId xmlns:a16="http://schemas.microsoft.com/office/drawing/2014/main" id="{C7A14EDD-C1CF-4CE0-B43A-593A149138F8}"/>
                </a:ext>
              </a:extLst>
            </p:cNvPr>
            <p:cNvSpPr/>
            <p:nvPr/>
          </p:nvSpPr>
          <p:spPr bwMode="auto">
            <a:xfrm>
              <a:off x="4783139" y="4125913"/>
              <a:ext cx="142875" cy="84138"/>
            </a:xfrm>
            <a:custGeom>
              <a:avLst/>
              <a:gdLst>
                <a:gd name="T0" fmla="*/ 9 w 55"/>
                <a:gd name="T1" fmla="*/ 4 h 32"/>
                <a:gd name="T2" fmla="*/ 22 w 55"/>
                <a:gd name="T3" fmla="*/ 6 h 32"/>
                <a:gd name="T4" fmla="*/ 25 w 55"/>
                <a:gd name="T5" fmla="*/ 6 h 32"/>
                <a:gd name="T6" fmla="*/ 35 w 55"/>
                <a:gd name="T7" fmla="*/ 1 h 32"/>
                <a:gd name="T8" fmla="*/ 41 w 55"/>
                <a:gd name="T9" fmla="*/ 3 h 32"/>
                <a:gd name="T10" fmla="*/ 40 w 55"/>
                <a:gd name="T11" fmla="*/ 10 h 32"/>
                <a:gd name="T12" fmla="*/ 42 w 55"/>
                <a:gd name="T13" fmla="*/ 12 h 32"/>
                <a:gd name="T14" fmla="*/ 53 w 55"/>
                <a:gd name="T15" fmla="*/ 16 h 32"/>
                <a:gd name="T16" fmla="*/ 52 w 55"/>
                <a:gd name="T17" fmla="*/ 20 h 32"/>
                <a:gd name="T18" fmla="*/ 39 w 55"/>
                <a:gd name="T19" fmla="*/ 22 h 32"/>
                <a:gd name="T20" fmla="*/ 37 w 55"/>
                <a:gd name="T21" fmla="*/ 23 h 32"/>
                <a:gd name="T22" fmla="*/ 33 w 55"/>
                <a:gd name="T23" fmla="*/ 30 h 32"/>
                <a:gd name="T24" fmla="*/ 27 w 55"/>
                <a:gd name="T25" fmla="*/ 31 h 32"/>
                <a:gd name="T26" fmla="*/ 20 w 55"/>
                <a:gd name="T27" fmla="*/ 25 h 32"/>
                <a:gd name="T28" fmla="*/ 17 w 55"/>
                <a:gd name="T29" fmla="*/ 24 h 32"/>
                <a:gd name="T30" fmla="*/ 4 w 55"/>
                <a:gd name="T31" fmla="*/ 24 h 32"/>
                <a:gd name="T32" fmla="*/ 1 w 55"/>
                <a:gd name="T33" fmla="*/ 21 h 32"/>
                <a:gd name="T34" fmla="*/ 9 w 55"/>
                <a:gd name="T35" fmla="*/ 15 h 32"/>
                <a:gd name="T36" fmla="*/ 9 w 55"/>
                <a:gd name="T37" fmla="*/ 13 h 32"/>
                <a:gd name="T38" fmla="*/ 5 w 55"/>
                <a:gd name="T39" fmla="*/ 6 h 32"/>
                <a:gd name="T40" fmla="*/ 9 w 55"/>
                <a:gd name="T41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9" y="4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4" y="6"/>
                    <a:pt x="25" y="6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8" y="0"/>
                    <a:pt x="41" y="1"/>
                    <a:pt x="41" y="3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1"/>
                    <a:pt x="41" y="11"/>
                    <a:pt x="42" y="1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4" y="19"/>
                    <a:pt x="52" y="20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7" y="22"/>
                    <a:pt x="37" y="23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2" y="32"/>
                    <a:pt x="29" y="32"/>
                    <a:pt x="27" y="3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4"/>
                    <a:pt x="18" y="24"/>
                    <a:pt x="17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" y="24"/>
                    <a:pt x="0" y="22"/>
                    <a:pt x="1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4"/>
                    <a:pt x="10" y="14"/>
                    <a:pt x="9" y="1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4"/>
                    <a:pt x="7" y="3"/>
                    <a:pt x="9" y="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任意多边形 18">
              <a:extLst>
                <a:ext uri="{FF2B5EF4-FFF2-40B4-BE49-F238E27FC236}">
                  <a16:creationId xmlns:a16="http://schemas.microsoft.com/office/drawing/2014/main" id="{C119400A-BFF0-4FA9-99CB-5BB7ACF697E5}"/>
                </a:ext>
              </a:extLst>
            </p:cNvPr>
            <p:cNvSpPr/>
            <p:nvPr/>
          </p:nvSpPr>
          <p:spPr bwMode="auto">
            <a:xfrm>
              <a:off x="4921251" y="4046538"/>
              <a:ext cx="142875" cy="82550"/>
            </a:xfrm>
            <a:custGeom>
              <a:avLst/>
              <a:gdLst>
                <a:gd name="T0" fmla="*/ 10 w 55"/>
                <a:gd name="T1" fmla="*/ 4 h 32"/>
                <a:gd name="T2" fmla="*/ 22 w 55"/>
                <a:gd name="T3" fmla="*/ 6 h 32"/>
                <a:gd name="T4" fmla="*/ 25 w 55"/>
                <a:gd name="T5" fmla="*/ 6 h 32"/>
                <a:gd name="T6" fmla="*/ 36 w 55"/>
                <a:gd name="T7" fmla="*/ 1 h 32"/>
                <a:gd name="T8" fmla="*/ 41 w 55"/>
                <a:gd name="T9" fmla="*/ 3 h 32"/>
                <a:gd name="T10" fmla="*/ 41 w 55"/>
                <a:gd name="T11" fmla="*/ 10 h 32"/>
                <a:gd name="T12" fmla="*/ 42 w 55"/>
                <a:gd name="T13" fmla="*/ 12 h 32"/>
                <a:gd name="T14" fmla="*/ 53 w 55"/>
                <a:gd name="T15" fmla="*/ 16 h 32"/>
                <a:gd name="T16" fmla="*/ 52 w 55"/>
                <a:gd name="T17" fmla="*/ 20 h 32"/>
                <a:gd name="T18" fmla="*/ 40 w 55"/>
                <a:gd name="T19" fmla="*/ 22 h 32"/>
                <a:gd name="T20" fmla="*/ 37 w 55"/>
                <a:gd name="T21" fmla="*/ 23 h 32"/>
                <a:gd name="T22" fmla="*/ 33 w 55"/>
                <a:gd name="T23" fmla="*/ 30 h 32"/>
                <a:gd name="T24" fmla="*/ 28 w 55"/>
                <a:gd name="T25" fmla="*/ 31 h 32"/>
                <a:gd name="T26" fmla="*/ 20 w 55"/>
                <a:gd name="T27" fmla="*/ 25 h 32"/>
                <a:gd name="T28" fmla="*/ 17 w 55"/>
                <a:gd name="T29" fmla="*/ 24 h 32"/>
                <a:gd name="T30" fmla="*/ 4 w 55"/>
                <a:gd name="T31" fmla="*/ 24 h 32"/>
                <a:gd name="T32" fmla="*/ 2 w 55"/>
                <a:gd name="T33" fmla="*/ 21 h 32"/>
                <a:gd name="T34" fmla="*/ 9 w 55"/>
                <a:gd name="T35" fmla="*/ 15 h 32"/>
                <a:gd name="T36" fmla="*/ 10 w 55"/>
                <a:gd name="T37" fmla="*/ 13 h 32"/>
                <a:gd name="T38" fmla="*/ 6 w 55"/>
                <a:gd name="T39" fmla="*/ 6 h 32"/>
                <a:gd name="T40" fmla="*/ 10 w 55"/>
                <a:gd name="T41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10" y="4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4" y="6"/>
                    <a:pt x="25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3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1"/>
                    <a:pt x="41" y="12"/>
                    <a:pt x="42" y="1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5" y="19"/>
                    <a:pt x="52" y="20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9" y="22"/>
                    <a:pt x="38" y="23"/>
                    <a:pt x="37" y="23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29" y="32"/>
                    <a:pt x="28" y="3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4"/>
                    <a:pt x="18" y="24"/>
                    <a:pt x="17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" y="24"/>
                    <a:pt x="0" y="22"/>
                    <a:pt x="2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5"/>
                    <a:pt x="10" y="14"/>
                    <a:pt x="10" y="13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5"/>
                    <a:pt x="7" y="3"/>
                    <a:pt x="10" y="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任意多边形 19">
              <a:extLst>
                <a:ext uri="{FF2B5EF4-FFF2-40B4-BE49-F238E27FC236}">
                  <a16:creationId xmlns:a16="http://schemas.microsoft.com/office/drawing/2014/main" id="{747FFEFE-FCA2-4C22-8769-FCD003FAA239}"/>
                </a:ext>
              </a:extLst>
            </p:cNvPr>
            <p:cNvSpPr/>
            <p:nvPr/>
          </p:nvSpPr>
          <p:spPr bwMode="auto">
            <a:xfrm>
              <a:off x="5059364" y="3967163"/>
              <a:ext cx="146050" cy="80963"/>
            </a:xfrm>
            <a:custGeom>
              <a:avLst/>
              <a:gdLst>
                <a:gd name="T0" fmla="*/ 10 w 56"/>
                <a:gd name="T1" fmla="*/ 3 h 31"/>
                <a:gd name="T2" fmla="*/ 23 w 56"/>
                <a:gd name="T3" fmla="*/ 5 h 31"/>
                <a:gd name="T4" fmla="*/ 26 w 56"/>
                <a:gd name="T5" fmla="*/ 5 h 31"/>
                <a:gd name="T6" fmla="*/ 36 w 56"/>
                <a:gd name="T7" fmla="*/ 0 h 31"/>
                <a:gd name="T8" fmla="*/ 41 w 56"/>
                <a:gd name="T9" fmla="*/ 2 h 31"/>
                <a:gd name="T10" fmla="*/ 41 w 56"/>
                <a:gd name="T11" fmla="*/ 10 h 31"/>
                <a:gd name="T12" fmla="*/ 43 w 56"/>
                <a:gd name="T13" fmla="*/ 11 h 31"/>
                <a:gd name="T14" fmla="*/ 53 w 56"/>
                <a:gd name="T15" fmla="*/ 16 h 31"/>
                <a:gd name="T16" fmla="*/ 53 w 56"/>
                <a:gd name="T17" fmla="*/ 19 h 31"/>
                <a:gd name="T18" fmla="*/ 40 w 56"/>
                <a:gd name="T19" fmla="*/ 21 h 31"/>
                <a:gd name="T20" fmla="*/ 38 w 56"/>
                <a:gd name="T21" fmla="*/ 22 h 31"/>
                <a:gd name="T22" fmla="*/ 34 w 56"/>
                <a:gd name="T23" fmla="*/ 30 h 31"/>
                <a:gd name="T24" fmla="*/ 28 w 56"/>
                <a:gd name="T25" fmla="*/ 30 h 31"/>
                <a:gd name="T26" fmla="*/ 20 w 56"/>
                <a:gd name="T27" fmla="*/ 24 h 31"/>
                <a:gd name="T28" fmla="*/ 18 w 56"/>
                <a:gd name="T29" fmla="*/ 23 h 31"/>
                <a:gd name="T30" fmla="*/ 5 w 56"/>
                <a:gd name="T31" fmla="*/ 23 h 31"/>
                <a:gd name="T32" fmla="*/ 2 w 56"/>
                <a:gd name="T33" fmla="*/ 20 h 31"/>
                <a:gd name="T34" fmla="*/ 10 w 56"/>
                <a:gd name="T35" fmla="*/ 14 h 31"/>
                <a:gd name="T36" fmla="*/ 10 w 56"/>
                <a:gd name="T37" fmla="*/ 12 h 31"/>
                <a:gd name="T38" fmla="*/ 6 w 56"/>
                <a:gd name="T39" fmla="*/ 5 h 31"/>
                <a:gd name="T40" fmla="*/ 10 w 56"/>
                <a:gd name="T41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31">
                  <a:moveTo>
                    <a:pt x="10" y="3"/>
                  </a:moveTo>
                  <a:cubicBezTo>
                    <a:pt x="23" y="5"/>
                    <a:pt x="23" y="5"/>
                    <a:pt x="23" y="5"/>
                  </a:cubicBezTo>
                  <a:cubicBezTo>
                    <a:pt x="24" y="5"/>
                    <a:pt x="25" y="5"/>
                    <a:pt x="26" y="5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2" y="0"/>
                    <a:pt x="41" y="2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2" y="11"/>
                    <a:pt x="43" y="11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6" y="16"/>
                    <a:pt x="55" y="18"/>
                    <a:pt x="53" y="19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39" y="21"/>
                    <a:pt x="38" y="22"/>
                    <a:pt x="38" y="22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1"/>
                    <a:pt x="30" y="31"/>
                    <a:pt x="28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3"/>
                    <a:pt x="19" y="23"/>
                    <a:pt x="18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2" y="23"/>
                    <a:pt x="0" y="22"/>
                    <a:pt x="2" y="2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3"/>
                    <a:pt x="10" y="12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4"/>
                    <a:pt x="8" y="2"/>
                    <a:pt x="10" y="3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任意多边形 20">
              <a:extLst>
                <a:ext uri="{FF2B5EF4-FFF2-40B4-BE49-F238E27FC236}">
                  <a16:creationId xmlns:a16="http://schemas.microsoft.com/office/drawing/2014/main" id="{7C839F9A-7F13-40E8-AE8A-69AA3003CF42}"/>
                </a:ext>
              </a:extLst>
            </p:cNvPr>
            <p:cNvSpPr/>
            <p:nvPr/>
          </p:nvSpPr>
          <p:spPr bwMode="auto">
            <a:xfrm>
              <a:off x="5200651" y="3886201"/>
              <a:ext cx="142875" cy="84138"/>
            </a:xfrm>
            <a:custGeom>
              <a:avLst/>
              <a:gdLst>
                <a:gd name="T0" fmla="*/ 10 w 55"/>
                <a:gd name="T1" fmla="*/ 3 h 32"/>
                <a:gd name="T2" fmla="*/ 22 w 55"/>
                <a:gd name="T3" fmla="*/ 5 h 32"/>
                <a:gd name="T4" fmla="*/ 25 w 55"/>
                <a:gd name="T5" fmla="*/ 5 h 32"/>
                <a:gd name="T6" fmla="*/ 36 w 55"/>
                <a:gd name="T7" fmla="*/ 1 h 32"/>
                <a:gd name="T8" fmla="*/ 41 w 55"/>
                <a:gd name="T9" fmla="*/ 2 h 32"/>
                <a:gd name="T10" fmla="*/ 41 w 55"/>
                <a:gd name="T11" fmla="*/ 10 h 32"/>
                <a:gd name="T12" fmla="*/ 42 w 55"/>
                <a:gd name="T13" fmla="*/ 11 h 32"/>
                <a:gd name="T14" fmla="*/ 53 w 55"/>
                <a:gd name="T15" fmla="*/ 16 h 32"/>
                <a:gd name="T16" fmla="*/ 52 w 55"/>
                <a:gd name="T17" fmla="*/ 19 h 32"/>
                <a:gd name="T18" fmla="*/ 39 w 55"/>
                <a:gd name="T19" fmla="*/ 21 h 32"/>
                <a:gd name="T20" fmla="*/ 37 w 55"/>
                <a:gd name="T21" fmla="*/ 23 h 32"/>
                <a:gd name="T22" fmla="*/ 33 w 55"/>
                <a:gd name="T23" fmla="*/ 30 h 32"/>
                <a:gd name="T24" fmla="*/ 28 w 55"/>
                <a:gd name="T25" fmla="*/ 30 h 32"/>
                <a:gd name="T26" fmla="*/ 20 w 55"/>
                <a:gd name="T27" fmla="*/ 24 h 32"/>
                <a:gd name="T28" fmla="*/ 17 w 55"/>
                <a:gd name="T29" fmla="*/ 23 h 32"/>
                <a:gd name="T30" fmla="*/ 4 w 55"/>
                <a:gd name="T31" fmla="*/ 23 h 32"/>
                <a:gd name="T32" fmla="*/ 1 w 55"/>
                <a:gd name="T33" fmla="*/ 20 h 32"/>
                <a:gd name="T34" fmla="*/ 9 w 55"/>
                <a:gd name="T35" fmla="*/ 14 h 32"/>
                <a:gd name="T36" fmla="*/ 10 w 55"/>
                <a:gd name="T37" fmla="*/ 13 h 32"/>
                <a:gd name="T38" fmla="*/ 5 w 55"/>
                <a:gd name="T39" fmla="*/ 5 h 32"/>
                <a:gd name="T40" fmla="*/ 10 w 55"/>
                <a:gd name="T4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10" y="3"/>
                  </a:moveTo>
                  <a:cubicBezTo>
                    <a:pt x="22" y="5"/>
                    <a:pt x="22" y="5"/>
                    <a:pt x="22" y="5"/>
                  </a:cubicBezTo>
                  <a:cubicBezTo>
                    <a:pt x="23" y="6"/>
                    <a:pt x="24" y="6"/>
                    <a:pt x="25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2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11"/>
                    <a:pt x="42" y="11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5" y="19"/>
                    <a:pt x="52" y="19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8" y="22"/>
                    <a:pt x="37" y="23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1"/>
                    <a:pt x="29" y="32"/>
                    <a:pt x="28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9" y="24"/>
                    <a:pt x="18" y="23"/>
                    <a:pt x="17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1" y="23"/>
                    <a:pt x="0" y="22"/>
                    <a:pt x="1" y="20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3"/>
                    <a:pt x="10" y="1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7" y="2"/>
                    <a:pt x="10" y="3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任意多边形 21">
              <a:extLst>
                <a:ext uri="{FF2B5EF4-FFF2-40B4-BE49-F238E27FC236}">
                  <a16:creationId xmlns:a16="http://schemas.microsoft.com/office/drawing/2014/main" id="{CE34CAD1-7B06-43C5-8F82-696BED165E7C}"/>
                </a:ext>
              </a:extLst>
            </p:cNvPr>
            <p:cNvSpPr/>
            <p:nvPr/>
          </p:nvSpPr>
          <p:spPr bwMode="auto">
            <a:xfrm>
              <a:off x="6013451" y="4870451"/>
              <a:ext cx="146050" cy="82550"/>
            </a:xfrm>
            <a:custGeom>
              <a:avLst/>
              <a:gdLst>
                <a:gd name="T0" fmla="*/ 10 w 56"/>
                <a:gd name="T1" fmla="*/ 3 h 32"/>
                <a:gd name="T2" fmla="*/ 23 w 56"/>
                <a:gd name="T3" fmla="*/ 6 h 32"/>
                <a:gd name="T4" fmla="*/ 26 w 56"/>
                <a:gd name="T5" fmla="*/ 5 h 32"/>
                <a:gd name="T6" fmla="*/ 36 w 56"/>
                <a:gd name="T7" fmla="*/ 1 h 32"/>
                <a:gd name="T8" fmla="*/ 42 w 56"/>
                <a:gd name="T9" fmla="*/ 2 h 32"/>
                <a:gd name="T10" fmla="*/ 41 w 56"/>
                <a:gd name="T11" fmla="*/ 10 h 32"/>
                <a:gd name="T12" fmla="*/ 43 w 56"/>
                <a:gd name="T13" fmla="*/ 12 h 32"/>
                <a:gd name="T14" fmla="*/ 54 w 56"/>
                <a:gd name="T15" fmla="*/ 16 h 32"/>
                <a:gd name="T16" fmla="*/ 53 w 56"/>
                <a:gd name="T17" fmla="*/ 19 h 32"/>
                <a:gd name="T18" fmla="*/ 40 w 56"/>
                <a:gd name="T19" fmla="*/ 22 h 32"/>
                <a:gd name="T20" fmla="*/ 38 w 56"/>
                <a:gd name="T21" fmla="*/ 23 h 32"/>
                <a:gd name="T22" fmla="*/ 34 w 56"/>
                <a:gd name="T23" fmla="*/ 30 h 32"/>
                <a:gd name="T24" fmla="*/ 28 w 56"/>
                <a:gd name="T25" fmla="*/ 31 h 32"/>
                <a:gd name="T26" fmla="*/ 21 w 56"/>
                <a:gd name="T27" fmla="*/ 24 h 32"/>
                <a:gd name="T28" fmla="*/ 18 w 56"/>
                <a:gd name="T29" fmla="*/ 24 h 32"/>
                <a:gd name="T30" fmla="*/ 5 w 56"/>
                <a:gd name="T31" fmla="*/ 24 h 32"/>
                <a:gd name="T32" fmla="*/ 2 w 56"/>
                <a:gd name="T33" fmla="*/ 21 h 32"/>
                <a:gd name="T34" fmla="*/ 10 w 56"/>
                <a:gd name="T35" fmla="*/ 15 h 32"/>
                <a:gd name="T36" fmla="*/ 10 w 56"/>
                <a:gd name="T37" fmla="*/ 13 h 32"/>
                <a:gd name="T38" fmla="*/ 6 w 56"/>
                <a:gd name="T39" fmla="*/ 6 h 32"/>
                <a:gd name="T40" fmla="*/ 10 w 56"/>
                <a:gd name="T4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32">
                  <a:moveTo>
                    <a:pt x="10" y="3"/>
                  </a:moveTo>
                  <a:cubicBezTo>
                    <a:pt x="23" y="6"/>
                    <a:pt x="23" y="6"/>
                    <a:pt x="23" y="6"/>
                  </a:cubicBezTo>
                  <a:cubicBezTo>
                    <a:pt x="24" y="6"/>
                    <a:pt x="25" y="6"/>
                    <a:pt x="26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9" y="0"/>
                    <a:pt x="42" y="1"/>
                    <a:pt x="42" y="2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1"/>
                    <a:pt x="42" y="11"/>
                    <a:pt x="43" y="12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6" y="17"/>
                    <a:pt x="55" y="19"/>
                    <a:pt x="53" y="19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9" y="22"/>
                    <a:pt x="38" y="22"/>
                    <a:pt x="38" y="23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2"/>
                    <a:pt x="30" y="32"/>
                    <a:pt x="28" y="31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0" y="24"/>
                    <a:pt x="19" y="24"/>
                    <a:pt x="18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2"/>
                    <a:pt x="2" y="2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4"/>
                    <a:pt x="11" y="13"/>
                    <a:pt x="10" y="13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4"/>
                    <a:pt x="8" y="3"/>
                    <a:pt x="10" y="3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任意多边形 22">
              <a:extLst>
                <a:ext uri="{FF2B5EF4-FFF2-40B4-BE49-F238E27FC236}">
                  <a16:creationId xmlns:a16="http://schemas.microsoft.com/office/drawing/2014/main" id="{9DBB57AD-323D-448F-8B31-40BE357919B0}"/>
                </a:ext>
              </a:extLst>
            </p:cNvPr>
            <p:cNvSpPr/>
            <p:nvPr/>
          </p:nvSpPr>
          <p:spPr bwMode="auto">
            <a:xfrm>
              <a:off x="6154739" y="4789488"/>
              <a:ext cx="142875" cy="82550"/>
            </a:xfrm>
            <a:custGeom>
              <a:avLst/>
              <a:gdLst>
                <a:gd name="T0" fmla="*/ 10 w 55"/>
                <a:gd name="T1" fmla="*/ 3 h 32"/>
                <a:gd name="T2" fmla="*/ 22 w 55"/>
                <a:gd name="T3" fmla="*/ 6 h 32"/>
                <a:gd name="T4" fmla="*/ 25 w 55"/>
                <a:gd name="T5" fmla="*/ 6 h 32"/>
                <a:gd name="T6" fmla="*/ 36 w 55"/>
                <a:gd name="T7" fmla="*/ 1 h 32"/>
                <a:gd name="T8" fmla="*/ 41 w 55"/>
                <a:gd name="T9" fmla="*/ 3 h 32"/>
                <a:gd name="T10" fmla="*/ 41 w 55"/>
                <a:gd name="T11" fmla="*/ 10 h 32"/>
                <a:gd name="T12" fmla="*/ 42 w 55"/>
                <a:gd name="T13" fmla="*/ 12 h 32"/>
                <a:gd name="T14" fmla="*/ 53 w 55"/>
                <a:gd name="T15" fmla="*/ 16 h 32"/>
                <a:gd name="T16" fmla="*/ 52 w 55"/>
                <a:gd name="T17" fmla="*/ 19 h 32"/>
                <a:gd name="T18" fmla="*/ 39 w 55"/>
                <a:gd name="T19" fmla="*/ 22 h 32"/>
                <a:gd name="T20" fmla="*/ 37 w 55"/>
                <a:gd name="T21" fmla="*/ 23 h 32"/>
                <a:gd name="T22" fmla="*/ 33 w 55"/>
                <a:gd name="T23" fmla="*/ 30 h 32"/>
                <a:gd name="T24" fmla="*/ 28 w 55"/>
                <a:gd name="T25" fmla="*/ 31 h 32"/>
                <a:gd name="T26" fmla="*/ 20 w 55"/>
                <a:gd name="T27" fmla="*/ 25 h 32"/>
                <a:gd name="T28" fmla="*/ 17 w 55"/>
                <a:gd name="T29" fmla="*/ 24 h 32"/>
                <a:gd name="T30" fmla="*/ 4 w 55"/>
                <a:gd name="T31" fmla="*/ 24 h 32"/>
                <a:gd name="T32" fmla="*/ 1 w 55"/>
                <a:gd name="T33" fmla="*/ 21 h 32"/>
                <a:gd name="T34" fmla="*/ 9 w 55"/>
                <a:gd name="T35" fmla="*/ 15 h 32"/>
                <a:gd name="T36" fmla="*/ 10 w 55"/>
                <a:gd name="T37" fmla="*/ 13 h 32"/>
                <a:gd name="T38" fmla="*/ 6 w 55"/>
                <a:gd name="T39" fmla="*/ 6 h 32"/>
                <a:gd name="T40" fmla="*/ 10 w 55"/>
                <a:gd name="T4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10" y="3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4" y="6"/>
                    <a:pt x="25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3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1"/>
                    <a:pt x="41" y="11"/>
                    <a:pt x="42" y="1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5" y="19"/>
                    <a:pt x="52" y="1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8" y="22"/>
                    <a:pt x="37" y="23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2"/>
                    <a:pt x="29" y="32"/>
                    <a:pt x="28" y="3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4"/>
                    <a:pt x="18" y="24"/>
                    <a:pt x="17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" y="24"/>
                    <a:pt x="0" y="22"/>
                    <a:pt x="1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4"/>
                    <a:pt x="10" y="14"/>
                    <a:pt x="10" y="13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4"/>
                    <a:pt x="7" y="3"/>
                    <a:pt x="10" y="3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任意多边形 23">
              <a:extLst>
                <a:ext uri="{FF2B5EF4-FFF2-40B4-BE49-F238E27FC236}">
                  <a16:creationId xmlns:a16="http://schemas.microsoft.com/office/drawing/2014/main" id="{B26097E0-D810-4F95-87ED-32978B2F7F42}"/>
                </a:ext>
              </a:extLst>
            </p:cNvPr>
            <p:cNvSpPr/>
            <p:nvPr/>
          </p:nvSpPr>
          <p:spPr bwMode="auto">
            <a:xfrm>
              <a:off x="6292851" y="4708526"/>
              <a:ext cx="146050" cy="82550"/>
            </a:xfrm>
            <a:custGeom>
              <a:avLst/>
              <a:gdLst>
                <a:gd name="T0" fmla="*/ 10 w 56"/>
                <a:gd name="T1" fmla="*/ 4 h 32"/>
                <a:gd name="T2" fmla="*/ 23 w 56"/>
                <a:gd name="T3" fmla="*/ 6 h 32"/>
                <a:gd name="T4" fmla="*/ 26 w 56"/>
                <a:gd name="T5" fmla="*/ 6 h 32"/>
                <a:gd name="T6" fmla="*/ 36 w 56"/>
                <a:gd name="T7" fmla="*/ 1 h 32"/>
                <a:gd name="T8" fmla="*/ 41 w 56"/>
                <a:gd name="T9" fmla="*/ 3 h 32"/>
                <a:gd name="T10" fmla="*/ 41 w 56"/>
                <a:gd name="T11" fmla="*/ 10 h 32"/>
                <a:gd name="T12" fmla="*/ 43 w 56"/>
                <a:gd name="T13" fmla="*/ 12 h 32"/>
                <a:gd name="T14" fmla="*/ 53 w 56"/>
                <a:gd name="T15" fmla="*/ 16 h 32"/>
                <a:gd name="T16" fmla="*/ 52 w 56"/>
                <a:gd name="T17" fmla="*/ 20 h 32"/>
                <a:gd name="T18" fmla="*/ 40 w 56"/>
                <a:gd name="T19" fmla="*/ 22 h 32"/>
                <a:gd name="T20" fmla="*/ 38 w 56"/>
                <a:gd name="T21" fmla="*/ 23 h 32"/>
                <a:gd name="T22" fmla="*/ 34 w 56"/>
                <a:gd name="T23" fmla="*/ 30 h 32"/>
                <a:gd name="T24" fmla="*/ 28 w 56"/>
                <a:gd name="T25" fmla="*/ 31 h 32"/>
                <a:gd name="T26" fmla="*/ 20 w 56"/>
                <a:gd name="T27" fmla="*/ 25 h 32"/>
                <a:gd name="T28" fmla="*/ 18 w 56"/>
                <a:gd name="T29" fmla="*/ 24 h 32"/>
                <a:gd name="T30" fmla="*/ 5 w 56"/>
                <a:gd name="T31" fmla="*/ 24 h 32"/>
                <a:gd name="T32" fmla="*/ 2 w 56"/>
                <a:gd name="T33" fmla="*/ 21 h 32"/>
                <a:gd name="T34" fmla="*/ 10 w 56"/>
                <a:gd name="T35" fmla="*/ 15 h 32"/>
                <a:gd name="T36" fmla="*/ 10 w 56"/>
                <a:gd name="T37" fmla="*/ 13 h 32"/>
                <a:gd name="T38" fmla="*/ 6 w 56"/>
                <a:gd name="T39" fmla="*/ 6 h 32"/>
                <a:gd name="T40" fmla="*/ 10 w 56"/>
                <a:gd name="T41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32">
                  <a:moveTo>
                    <a:pt x="10" y="4"/>
                  </a:moveTo>
                  <a:cubicBezTo>
                    <a:pt x="23" y="6"/>
                    <a:pt x="23" y="6"/>
                    <a:pt x="23" y="6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3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1"/>
                    <a:pt x="42" y="12"/>
                    <a:pt x="43" y="1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6" y="17"/>
                    <a:pt x="55" y="19"/>
                    <a:pt x="52" y="20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9" y="22"/>
                    <a:pt x="38" y="23"/>
                    <a:pt x="38" y="23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2"/>
                    <a:pt x="30" y="32"/>
                    <a:pt x="28" y="3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4"/>
                    <a:pt x="19" y="24"/>
                    <a:pt x="18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2"/>
                    <a:pt x="2" y="2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4"/>
                    <a:pt x="11" y="14"/>
                    <a:pt x="10" y="13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4"/>
                    <a:pt x="8" y="3"/>
                    <a:pt x="10" y="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任意多边形 24">
              <a:extLst>
                <a:ext uri="{FF2B5EF4-FFF2-40B4-BE49-F238E27FC236}">
                  <a16:creationId xmlns:a16="http://schemas.microsoft.com/office/drawing/2014/main" id="{8157502B-C22C-430B-A17A-2ADAE4CA99C7}"/>
                </a:ext>
              </a:extLst>
            </p:cNvPr>
            <p:cNvSpPr/>
            <p:nvPr/>
          </p:nvSpPr>
          <p:spPr bwMode="auto">
            <a:xfrm>
              <a:off x="6434139" y="4627563"/>
              <a:ext cx="142875" cy="82550"/>
            </a:xfrm>
            <a:custGeom>
              <a:avLst/>
              <a:gdLst>
                <a:gd name="T0" fmla="*/ 10 w 55"/>
                <a:gd name="T1" fmla="*/ 4 h 32"/>
                <a:gd name="T2" fmla="*/ 22 w 55"/>
                <a:gd name="T3" fmla="*/ 6 h 32"/>
                <a:gd name="T4" fmla="*/ 25 w 55"/>
                <a:gd name="T5" fmla="*/ 6 h 32"/>
                <a:gd name="T6" fmla="*/ 36 w 55"/>
                <a:gd name="T7" fmla="*/ 1 h 32"/>
                <a:gd name="T8" fmla="*/ 41 w 55"/>
                <a:gd name="T9" fmla="*/ 3 h 32"/>
                <a:gd name="T10" fmla="*/ 41 w 55"/>
                <a:gd name="T11" fmla="*/ 11 h 32"/>
                <a:gd name="T12" fmla="*/ 42 w 55"/>
                <a:gd name="T13" fmla="*/ 12 h 32"/>
                <a:gd name="T14" fmla="*/ 53 w 55"/>
                <a:gd name="T15" fmla="*/ 16 h 32"/>
                <a:gd name="T16" fmla="*/ 52 w 55"/>
                <a:gd name="T17" fmla="*/ 20 h 32"/>
                <a:gd name="T18" fmla="*/ 39 w 55"/>
                <a:gd name="T19" fmla="*/ 22 h 32"/>
                <a:gd name="T20" fmla="*/ 37 w 55"/>
                <a:gd name="T21" fmla="*/ 23 h 32"/>
                <a:gd name="T22" fmla="*/ 33 w 55"/>
                <a:gd name="T23" fmla="*/ 31 h 32"/>
                <a:gd name="T24" fmla="*/ 27 w 55"/>
                <a:gd name="T25" fmla="*/ 31 h 32"/>
                <a:gd name="T26" fmla="*/ 20 w 55"/>
                <a:gd name="T27" fmla="*/ 25 h 32"/>
                <a:gd name="T28" fmla="*/ 17 w 55"/>
                <a:gd name="T29" fmla="*/ 24 h 32"/>
                <a:gd name="T30" fmla="*/ 4 w 55"/>
                <a:gd name="T31" fmla="*/ 24 h 32"/>
                <a:gd name="T32" fmla="*/ 1 w 55"/>
                <a:gd name="T33" fmla="*/ 21 h 32"/>
                <a:gd name="T34" fmla="*/ 9 w 55"/>
                <a:gd name="T35" fmla="*/ 15 h 32"/>
                <a:gd name="T36" fmla="*/ 10 w 55"/>
                <a:gd name="T37" fmla="*/ 13 h 32"/>
                <a:gd name="T38" fmla="*/ 5 w 55"/>
                <a:gd name="T39" fmla="*/ 6 h 32"/>
                <a:gd name="T40" fmla="*/ 10 w 55"/>
                <a:gd name="T41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10" y="4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4" y="6"/>
                    <a:pt x="25" y="6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3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2"/>
                    <a:pt x="42" y="12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4" y="19"/>
                    <a:pt x="52" y="20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7" y="23"/>
                    <a:pt x="37" y="23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2" y="32"/>
                    <a:pt x="29" y="32"/>
                    <a:pt x="27" y="3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9" y="24"/>
                    <a:pt x="18" y="24"/>
                    <a:pt x="17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" y="24"/>
                    <a:pt x="0" y="22"/>
                    <a:pt x="1" y="2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5"/>
                    <a:pt x="10" y="14"/>
                    <a:pt x="10" y="1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7" y="3"/>
                    <a:pt x="10" y="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任意多边形 25">
              <a:extLst>
                <a:ext uri="{FF2B5EF4-FFF2-40B4-BE49-F238E27FC236}">
                  <a16:creationId xmlns:a16="http://schemas.microsoft.com/office/drawing/2014/main" id="{138C8693-4D7A-4F38-97BF-E95CFA066C9B}"/>
                </a:ext>
              </a:extLst>
            </p:cNvPr>
            <p:cNvSpPr/>
            <p:nvPr/>
          </p:nvSpPr>
          <p:spPr bwMode="auto">
            <a:xfrm>
              <a:off x="6572251" y="4549776"/>
              <a:ext cx="142875" cy="82550"/>
            </a:xfrm>
            <a:custGeom>
              <a:avLst/>
              <a:gdLst>
                <a:gd name="T0" fmla="*/ 10 w 55"/>
                <a:gd name="T1" fmla="*/ 3 h 32"/>
                <a:gd name="T2" fmla="*/ 22 w 55"/>
                <a:gd name="T3" fmla="*/ 5 h 32"/>
                <a:gd name="T4" fmla="*/ 25 w 55"/>
                <a:gd name="T5" fmla="*/ 5 h 32"/>
                <a:gd name="T6" fmla="*/ 36 w 55"/>
                <a:gd name="T7" fmla="*/ 1 h 32"/>
                <a:gd name="T8" fmla="*/ 41 w 55"/>
                <a:gd name="T9" fmla="*/ 2 h 32"/>
                <a:gd name="T10" fmla="*/ 41 w 55"/>
                <a:gd name="T11" fmla="*/ 10 h 32"/>
                <a:gd name="T12" fmla="*/ 42 w 55"/>
                <a:gd name="T13" fmla="*/ 11 h 32"/>
                <a:gd name="T14" fmla="*/ 53 w 55"/>
                <a:gd name="T15" fmla="*/ 16 h 32"/>
                <a:gd name="T16" fmla="*/ 52 w 55"/>
                <a:gd name="T17" fmla="*/ 19 h 32"/>
                <a:gd name="T18" fmla="*/ 40 w 55"/>
                <a:gd name="T19" fmla="*/ 21 h 32"/>
                <a:gd name="T20" fmla="*/ 38 w 55"/>
                <a:gd name="T21" fmla="*/ 22 h 32"/>
                <a:gd name="T22" fmla="*/ 34 w 55"/>
                <a:gd name="T23" fmla="*/ 30 h 32"/>
                <a:gd name="T24" fmla="*/ 28 w 55"/>
                <a:gd name="T25" fmla="*/ 30 h 32"/>
                <a:gd name="T26" fmla="*/ 20 w 55"/>
                <a:gd name="T27" fmla="*/ 24 h 32"/>
                <a:gd name="T28" fmla="*/ 18 w 55"/>
                <a:gd name="T29" fmla="*/ 23 h 32"/>
                <a:gd name="T30" fmla="*/ 4 w 55"/>
                <a:gd name="T31" fmla="*/ 23 h 32"/>
                <a:gd name="T32" fmla="*/ 2 w 55"/>
                <a:gd name="T33" fmla="*/ 20 h 32"/>
                <a:gd name="T34" fmla="*/ 10 w 55"/>
                <a:gd name="T35" fmla="*/ 14 h 32"/>
                <a:gd name="T36" fmla="*/ 10 w 55"/>
                <a:gd name="T37" fmla="*/ 12 h 32"/>
                <a:gd name="T38" fmla="*/ 6 w 55"/>
                <a:gd name="T39" fmla="*/ 5 h 32"/>
                <a:gd name="T40" fmla="*/ 10 w 55"/>
                <a:gd name="T4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2">
                  <a:moveTo>
                    <a:pt x="10" y="3"/>
                  </a:moveTo>
                  <a:cubicBezTo>
                    <a:pt x="22" y="5"/>
                    <a:pt x="22" y="5"/>
                    <a:pt x="22" y="5"/>
                  </a:cubicBezTo>
                  <a:cubicBezTo>
                    <a:pt x="23" y="6"/>
                    <a:pt x="25" y="5"/>
                    <a:pt x="25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8" y="0"/>
                    <a:pt x="41" y="1"/>
                    <a:pt x="41" y="2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2" y="11"/>
                    <a:pt x="42" y="11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5" y="17"/>
                    <a:pt x="55" y="19"/>
                    <a:pt x="52" y="19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39" y="21"/>
                    <a:pt x="38" y="22"/>
                    <a:pt x="38" y="22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1"/>
                    <a:pt x="29" y="32"/>
                    <a:pt x="28" y="30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19" y="23"/>
                    <a:pt x="18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2"/>
                    <a:pt x="2" y="20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3"/>
                    <a:pt x="10" y="12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4"/>
                    <a:pt x="7" y="2"/>
                    <a:pt x="10" y="3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任意多边形 26">
              <a:extLst>
                <a:ext uri="{FF2B5EF4-FFF2-40B4-BE49-F238E27FC236}">
                  <a16:creationId xmlns:a16="http://schemas.microsoft.com/office/drawing/2014/main" id="{2F676CC8-9988-439D-A7DB-7696487510BB}"/>
                </a:ext>
              </a:extLst>
            </p:cNvPr>
            <p:cNvSpPr/>
            <p:nvPr/>
          </p:nvSpPr>
          <p:spPr bwMode="auto">
            <a:xfrm>
              <a:off x="7773989" y="5133976"/>
              <a:ext cx="303213" cy="171450"/>
            </a:xfrm>
            <a:custGeom>
              <a:avLst/>
              <a:gdLst>
                <a:gd name="T0" fmla="*/ 95 w 116"/>
                <a:gd name="T1" fmla="*/ 12 h 66"/>
                <a:gd name="T2" fmla="*/ 95 w 116"/>
                <a:gd name="T3" fmla="*/ 54 h 66"/>
                <a:gd name="T4" fmla="*/ 21 w 116"/>
                <a:gd name="T5" fmla="*/ 54 h 66"/>
                <a:gd name="T6" fmla="*/ 21 w 116"/>
                <a:gd name="T7" fmla="*/ 12 h 66"/>
                <a:gd name="T8" fmla="*/ 95 w 116"/>
                <a:gd name="T9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66">
                  <a:moveTo>
                    <a:pt x="95" y="12"/>
                  </a:moveTo>
                  <a:cubicBezTo>
                    <a:pt x="116" y="23"/>
                    <a:pt x="116" y="43"/>
                    <a:pt x="95" y="54"/>
                  </a:cubicBezTo>
                  <a:cubicBezTo>
                    <a:pt x="75" y="66"/>
                    <a:pt x="41" y="66"/>
                    <a:pt x="21" y="54"/>
                  </a:cubicBezTo>
                  <a:cubicBezTo>
                    <a:pt x="0" y="43"/>
                    <a:pt x="0" y="23"/>
                    <a:pt x="21" y="12"/>
                  </a:cubicBezTo>
                  <a:cubicBezTo>
                    <a:pt x="41" y="0"/>
                    <a:pt x="75" y="0"/>
                    <a:pt x="95" y="12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任意多边形 27">
              <a:extLst>
                <a:ext uri="{FF2B5EF4-FFF2-40B4-BE49-F238E27FC236}">
                  <a16:creationId xmlns:a16="http://schemas.microsoft.com/office/drawing/2014/main" id="{AC4908E4-E1D1-4A26-A8FC-440894D82EF0}"/>
                </a:ext>
              </a:extLst>
            </p:cNvPr>
            <p:cNvSpPr/>
            <p:nvPr/>
          </p:nvSpPr>
          <p:spPr bwMode="auto">
            <a:xfrm>
              <a:off x="3776664" y="4067176"/>
              <a:ext cx="869950" cy="503238"/>
            </a:xfrm>
            <a:custGeom>
              <a:avLst/>
              <a:gdLst>
                <a:gd name="T0" fmla="*/ 324 w 334"/>
                <a:gd name="T1" fmla="*/ 25 h 193"/>
                <a:gd name="T2" fmla="*/ 42 w 334"/>
                <a:gd name="T3" fmla="*/ 188 h 193"/>
                <a:gd name="T4" fmla="*/ 9 w 334"/>
                <a:gd name="T5" fmla="*/ 188 h 193"/>
                <a:gd name="T6" fmla="*/ 9 w 334"/>
                <a:gd name="T7" fmla="*/ 169 h 193"/>
                <a:gd name="T8" fmla="*/ 291 w 334"/>
                <a:gd name="T9" fmla="*/ 6 h 193"/>
                <a:gd name="T10" fmla="*/ 324 w 334"/>
                <a:gd name="T11" fmla="*/ 6 h 193"/>
                <a:gd name="T12" fmla="*/ 324 w 334"/>
                <a:gd name="T13" fmla="*/ 2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93">
                  <a:moveTo>
                    <a:pt x="324" y="25"/>
                  </a:moveTo>
                  <a:cubicBezTo>
                    <a:pt x="42" y="188"/>
                    <a:pt x="42" y="188"/>
                    <a:pt x="42" y="188"/>
                  </a:cubicBezTo>
                  <a:cubicBezTo>
                    <a:pt x="33" y="193"/>
                    <a:pt x="18" y="193"/>
                    <a:pt x="9" y="188"/>
                  </a:cubicBezTo>
                  <a:cubicBezTo>
                    <a:pt x="0" y="183"/>
                    <a:pt x="0" y="174"/>
                    <a:pt x="9" y="169"/>
                  </a:cubicBezTo>
                  <a:cubicBezTo>
                    <a:pt x="291" y="6"/>
                    <a:pt x="291" y="6"/>
                    <a:pt x="291" y="6"/>
                  </a:cubicBezTo>
                  <a:cubicBezTo>
                    <a:pt x="300" y="0"/>
                    <a:pt x="315" y="0"/>
                    <a:pt x="324" y="6"/>
                  </a:cubicBezTo>
                  <a:cubicBezTo>
                    <a:pt x="334" y="11"/>
                    <a:pt x="334" y="20"/>
                    <a:pt x="324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任意多边形 28">
              <a:extLst>
                <a:ext uri="{FF2B5EF4-FFF2-40B4-BE49-F238E27FC236}">
                  <a16:creationId xmlns:a16="http://schemas.microsoft.com/office/drawing/2014/main" id="{905ADF1C-6E34-4E0B-BE95-DB4781B55AC4}"/>
                </a:ext>
              </a:extLst>
            </p:cNvPr>
            <p:cNvSpPr/>
            <p:nvPr/>
          </p:nvSpPr>
          <p:spPr bwMode="auto">
            <a:xfrm>
              <a:off x="4691064" y="3740151"/>
              <a:ext cx="525463" cy="300038"/>
            </a:xfrm>
            <a:custGeom>
              <a:avLst/>
              <a:gdLst>
                <a:gd name="T0" fmla="*/ 191 w 201"/>
                <a:gd name="T1" fmla="*/ 24 h 115"/>
                <a:gd name="T2" fmla="*/ 42 w 201"/>
                <a:gd name="T3" fmla="*/ 110 h 115"/>
                <a:gd name="T4" fmla="*/ 9 w 201"/>
                <a:gd name="T5" fmla="*/ 110 h 115"/>
                <a:gd name="T6" fmla="*/ 9 w 201"/>
                <a:gd name="T7" fmla="*/ 91 h 115"/>
                <a:gd name="T8" fmla="*/ 158 w 201"/>
                <a:gd name="T9" fmla="*/ 5 h 115"/>
                <a:gd name="T10" fmla="*/ 191 w 201"/>
                <a:gd name="T11" fmla="*/ 5 h 115"/>
                <a:gd name="T12" fmla="*/ 191 w 201"/>
                <a:gd name="T13" fmla="*/ 2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1" h="115">
                  <a:moveTo>
                    <a:pt x="191" y="24"/>
                  </a:moveTo>
                  <a:cubicBezTo>
                    <a:pt x="42" y="110"/>
                    <a:pt x="42" y="110"/>
                    <a:pt x="42" y="110"/>
                  </a:cubicBezTo>
                  <a:cubicBezTo>
                    <a:pt x="33" y="115"/>
                    <a:pt x="18" y="115"/>
                    <a:pt x="9" y="110"/>
                  </a:cubicBezTo>
                  <a:cubicBezTo>
                    <a:pt x="0" y="105"/>
                    <a:pt x="0" y="96"/>
                    <a:pt x="9" y="91"/>
                  </a:cubicBezTo>
                  <a:cubicBezTo>
                    <a:pt x="158" y="5"/>
                    <a:pt x="158" y="5"/>
                    <a:pt x="158" y="5"/>
                  </a:cubicBezTo>
                  <a:cubicBezTo>
                    <a:pt x="167" y="0"/>
                    <a:pt x="182" y="0"/>
                    <a:pt x="191" y="5"/>
                  </a:cubicBezTo>
                  <a:cubicBezTo>
                    <a:pt x="201" y="10"/>
                    <a:pt x="201" y="19"/>
                    <a:pt x="191" y="2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任意多边形 29">
              <a:extLst>
                <a:ext uri="{FF2B5EF4-FFF2-40B4-BE49-F238E27FC236}">
                  <a16:creationId xmlns:a16="http://schemas.microsoft.com/office/drawing/2014/main" id="{D7EE86F1-C523-4D9C-863B-8F219CE9AA77}"/>
                </a:ext>
              </a:extLst>
            </p:cNvPr>
            <p:cNvSpPr/>
            <p:nvPr/>
          </p:nvSpPr>
          <p:spPr bwMode="auto">
            <a:xfrm>
              <a:off x="3995739" y="3719513"/>
              <a:ext cx="868363" cy="501650"/>
            </a:xfrm>
            <a:custGeom>
              <a:avLst/>
              <a:gdLst>
                <a:gd name="T0" fmla="*/ 324 w 333"/>
                <a:gd name="T1" fmla="*/ 24 h 192"/>
                <a:gd name="T2" fmla="*/ 42 w 333"/>
                <a:gd name="T3" fmla="*/ 187 h 192"/>
                <a:gd name="T4" fmla="*/ 9 w 333"/>
                <a:gd name="T5" fmla="*/ 187 h 192"/>
                <a:gd name="T6" fmla="*/ 9 w 333"/>
                <a:gd name="T7" fmla="*/ 168 h 192"/>
                <a:gd name="T8" fmla="*/ 291 w 333"/>
                <a:gd name="T9" fmla="*/ 5 h 192"/>
                <a:gd name="T10" fmla="*/ 324 w 333"/>
                <a:gd name="T11" fmla="*/ 5 h 192"/>
                <a:gd name="T12" fmla="*/ 324 w 333"/>
                <a:gd name="T13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92">
                  <a:moveTo>
                    <a:pt x="324" y="24"/>
                  </a:moveTo>
                  <a:cubicBezTo>
                    <a:pt x="42" y="187"/>
                    <a:pt x="42" y="187"/>
                    <a:pt x="42" y="187"/>
                  </a:cubicBezTo>
                  <a:cubicBezTo>
                    <a:pt x="33" y="192"/>
                    <a:pt x="18" y="192"/>
                    <a:pt x="9" y="187"/>
                  </a:cubicBezTo>
                  <a:cubicBezTo>
                    <a:pt x="0" y="182"/>
                    <a:pt x="0" y="173"/>
                    <a:pt x="9" y="168"/>
                  </a:cubicBezTo>
                  <a:cubicBezTo>
                    <a:pt x="291" y="5"/>
                    <a:pt x="291" y="5"/>
                    <a:pt x="291" y="5"/>
                  </a:cubicBezTo>
                  <a:cubicBezTo>
                    <a:pt x="300" y="0"/>
                    <a:pt x="315" y="0"/>
                    <a:pt x="324" y="5"/>
                  </a:cubicBezTo>
                  <a:cubicBezTo>
                    <a:pt x="333" y="10"/>
                    <a:pt x="333" y="19"/>
                    <a:pt x="324" y="2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任意多边形 30">
              <a:extLst>
                <a:ext uri="{FF2B5EF4-FFF2-40B4-BE49-F238E27FC236}">
                  <a16:creationId xmlns:a16="http://schemas.microsoft.com/office/drawing/2014/main" id="{91663B37-7B80-4D98-AA6B-81934364949E}"/>
                </a:ext>
              </a:extLst>
            </p:cNvPr>
            <p:cNvSpPr/>
            <p:nvPr/>
          </p:nvSpPr>
          <p:spPr bwMode="auto">
            <a:xfrm>
              <a:off x="4933951" y="3175001"/>
              <a:ext cx="871538" cy="503238"/>
            </a:xfrm>
            <a:custGeom>
              <a:avLst/>
              <a:gdLst>
                <a:gd name="T0" fmla="*/ 325 w 334"/>
                <a:gd name="T1" fmla="*/ 25 h 193"/>
                <a:gd name="T2" fmla="*/ 43 w 334"/>
                <a:gd name="T3" fmla="*/ 188 h 193"/>
                <a:gd name="T4" fmla="*/ 10 w 334"/>
                <a:gd name="T5" fmla="*/ 188 h 193"/>
                <a:gd name="T6" fmla="*/ 10 w 334"/>
                <a:gd name="T7" fmla="*/ 169 h 193"/>
                <a:gd name="T8" fmla="*/ 292 w 334"/>
                <a:gd name="T9" fmla="*/ 6 h 193"/>
                <a:gd name="T10" fmla="*/ 325 w 334"/>
                <a:gd name="T11" fmla="*/ 6 h 193"/>
                <a:gd name="T12" fmla="*/ 325 w 334"/>
                <a:gd name="T13" fmla="*/ 2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93">
                  <a:moveTo>
                    <a:pt x="325" y="25"/>
                  </a:moveTo>
                  <a:cubicBezTo>
                    <a:pt x="43" y="188"/>
                    <a:pt x="43" y="188"/>
                    <a:pt x="43" y="188"/>
                  </a:cubicBezTo>
                  <a:cubicBezTo>
                    <a:pt x="34" y="193"/>
                    <a:pt x="19" y="193"/>
                    <a:pt x="10" y="188"/>
                  </a:cubicBezTo>
                  <a:cubicBezTo>
                    <a:pt x="0" y="182"/>
                    <a:pt x="0" y="174"/>
                    <a:pt x="10" y="169"/>
                  </a:cubicBezTo>
                  <a:cubicBezTo>
                    <a:pt x="292" y="6"/>
                    <a:pt x="292" y="6"/>
                    <a:pt x="292" y="6"/>
                  </a:cubicBezTo>
                  <a:cubicBezTo>
                    <a:pt x="301" y="0"/>
                    <a:pt x="316" y="0"/>
                    <a:pt x="325" y="6"/>
                  </a:cubicBezTo>
                  <a:cubicBezTo>
                    <a:pt x="334" y="11"/>
                    <a:pt x="334" y="19"/>
                    <a:pt x="325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任意多边形 31">
              <a:extLst>
                <a:ext uri="{FF2B5EF4-FFF2-40B4-BE49-F238E27FC236}">
                  <a16:creationId xmlns:a16="http://schemas.microsoft.com/office/drawing/2014/main" id="{F5C64F19-8AFB-4F4A-BEAA-5E820C80E98E}"/>
                </a:ext>
              </a:extLst>
            </p:cNvPr>
            <p:cNvSpPr/>
            <p:nvPr/>
          </p:nvSpPr>
          <p:spPr bwMode="auto">
            <a:xfrm>
              <a:off x="5356226" y="3378201"/>
              <a:ext cx="871538" cy="500063"/>
            </a:xfrm>
            <a:custGeom>
              <a:avLst/>
              <a:gdLst>
                <a:gd name="T0" fmla="*/ 325 w 334"/>
                <a:gd name="T1" fmla="*/ 24 h 192"/>
                <a:gd name="T2" fmla="*/ 43 w 334"/>
                <a:gd name="T3" fmla="*/ 187 h 192"/>
                <a:gd name="T4" fmla="*/ 10 w 334"/>
                <a:gd name="T5" fmla="*/ 187 h 192"/>
                <a:gd name="T6" fmla="*/ 10 w 334"/>
                <a:gd name="T7" fmla="*/ 168 h 192"/>
                <a:gd name="T8" fmla="*/ 292 w 334"/>
                <a:gd name="T9" fmla="*/ 5 h 192"/>
                <a:gd name="T10" fmla="*/ 325 w 334"/>
                <a:gd name="T11" fmla="*/ 5 h 192"/>
                <a:gd name="T12" fmla="*/ 325 w 334"/>
                <a:gd name="T13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92">
                  <a:moveTo>
                    <a:pt x="325" y="24"/>
                  </a:moveTo>
                  <a:cubicBezTo>
                    <a:pt x="43" y="187"/>
                    <a:pt x="43" y="187"/>
                    <a:pt x="43" y="187"/>
                  </a:cubicBezTo>
                  <a:cubicBezTo>
                    <a:pt x="34" y="192"/>
                    <a:pt x="19" y="192"/>
                    <a:pt x="10" y="187"/>
                  </a:cubicBezTo>
                  <a:cubicBezTo>
                    <a:pt x="0" y="182"/>
                    <a:pt x="0" y="173"/>
                    <a:pt x="10" y="168"/>
                  </a:cubicBezTo>
                  <a:cubicBezTo>
                    <a:pt x="292" y="5"/>
                    <a:pt x="292" y="5"/>
                    <a:pt x="292" y="5"/>
                  </a:cubicBezTo>
                  <a:cubicBezTo>
                    <a:pt x="301" y="0"/>
                    <a:pt x="316" y="0"/>
                    <a:pt x="325" y="5"/>
                  </a:cubicBezTo>
                  <a:cubicBezTo>
                    <a:pt x="334" y="10"/>
                    <a:pt x="334" y="19"/>
                    <a:pt x="325" y="24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任意多边形 32">
              <a:extLst>
                <a:ext uri="{FF2B5EF4-FFF2-40B4-BE49-F238E27FC236}">
                  <a16:creationId xmlns:a16="http://schemas.microsoft.com/office/drawing/2014/main" id="{7CE323AF-9239-4F02-A60C-DB0C81742B85}"/>
                </a:ext>
              </a:extLst>
            </p:cNvPr>
            <p:cNvSpPr/>
            <p:nvPr/>
          </p:nvSpPr>
          <p:spPr bwMode="auto">
            <a:xfrm>
              <a:off x="4491039" y="4178301"/>
              <a:ext cx="349250" cy="203200"/>
            </a:xfrm>
            <a:custGeom>
              <a:avLst/>
              <a:gdLst>
                <a:gd name="T0" fmla="*/ 124 w 134"/>
                <a:gd name="T1" fmla="*/ 25 h 78"/>
                <a:gd name="T2" fmla="*/ 42 w 134"/>
                <a:gd name="T3" fmla="*/ 72 h 78"/>
                <a:gd name="T4" fmla="*/ 9 w 134"/>
                <a:gd name="T5" fmla="*/ 72 h 78"/>
                <a:gd name="T6" fmla="*/ 9 w 134"/>
                <a:gd name="T7" fmla="*/ 53 h 78"/>
                <a:gd name="T8" fmla="*/ 91 w 134"/>
                <a:gd name="T9" fmla="*/ 6 h 78"/>
                <a:gd name="T10" fmla="*/ 124 w 134"/>
                <a:gd name="T11" fmla="*/ 6 h 78"/>
                <a:gd name="T12" fmla="*/ 124 w 134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8">
                  <a:moveTo>
                    <a:pt x="124" y="25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33" y="78"/>
                    <a:pt x="18" y="78"/>
                    <a:pt x="9" y="72"/>
                  </a:cubicBezTo>
                  <a:cubicBezTo>
                    <a:pt x="0" y="67"/>
                    <a:pt x="0" y="59"/>
                    <a:pt x="9" y="53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100" y="0"/>
                    <a:pt x="115" y="0"/>
                    <a:pt x="124" y="6"/>
                  </a:cubicBezTo>
                  <a:cubicBezTo>
                    <a:pt x="134" y="11"/>
                    <a:pt x="134" y="19"/>
                    <a:pt x="124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任意多边形 33">
              <a:extLst>
                <a:ext uri="{FF2B5EF4-FFF2-40B4-BE49-F238E27FC236}">
                  <a16:creationId xmlns:a16="http://schemas.microsoft.com/office/drawing/2014/main" id="{DF82856A-387E-459D-B2EA-648EE1DF16C5}"/>
                </a:ext>
              </a:extLst>
            </p:cNvPr>
            <p:cNvSpPr/>
            <p:nvPr/>
          </p:nvSpPr>
          <p:spPr bwMode="auto">
            <a:xfrm>
              <a:off x="6334126" y="3111501"/>
              <a:ext cx="352425" cy="204788"/>
            </a:xfrm>
            <a:custGeom>
              <a:avLst/>
              <a:gdLst>
                <a:gd name="T0" fmla="*/ 125 w 135"/>
                <a:gd name="T1" fmla="*/ 25 h 78"/>
                <a:gd name="T2" fmla="*/ 43 w 135"/>
                <a:gd name="T3" fmla="*/ 72 h 78"/>
                <a:gd name="T4" fmla="*/ 10 w 135"/>
                <a:gd name="T5" fmla="*/ 72 h 78"/>
                <a:gd name="T6" fmla="*/ 10 w 135"/>
                <a:gd name="T7" fmla="*/ 53 h 78"/>
                <a:gd name="T8" fmla="*/ 92 w 135"/>
                <a:gd name="T9" fmla="*/ 6 h 78"/>
                <a:gd name="T10" fmla="*/ 125 w 135"/>
                <a:gd name="T11" fmla="*/ 6 h 78"/>
                <a:gd name="T12" fmla="*/ 125 w 135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78">
                  <a:moveTo>
                    <a:pt x="125" y="25"/>
                  </a:moveTo>
                  <a:cubicBezTo>
                    <a:pt x="43" y="72"/>
                    <a:pt x="43" y="72"/>
                    <a:pt x="43" y="72"/>
                  </a:cubicBezTo>
                  <a:cubicBezTo>
                    <a:pt x="34" y="78"/>
                    <a:pt x="19" y="78"/>
                    <a:pt x="10" y="72"/>
                  </a:cubicBezTo>
                  <a:cubicBezTo>
                    <a:pt x="0" y="67"/>
                    <a:pt x="0" y="59"/>
                    <a:pt x="10" y="5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101" y="0"/>
                    <a:pt x="116" y="0"/>
                    <a:pt x="125" y="6"/>
                  </a:cubicBezTo>
                  <a:cubicBezTo>
                    <a:pt x="135" y="11"/>
                    <a:pt x="135" y="19"/>
                    <a:pt x="125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任意多边形 34">
              <a:extLst>
                <a:ext uri="{FF2B5EF4-FFF2-40B4-BE49-F238E27FC236}">
                  <a16:creationId xmlns:a16="http://schemas.microsoft.com/office/drawing/2014/main" id="{AD58CD94-FA3D-4287-B1E8-44301A98A35C}"/>
                </a:ext>
              </a:extLst>
            </p:cNvPr>
            <p:cNvSpPr/>
            <p:nvPr/>
          </p:nvSpPr>
          <p:spPr bwMode="auto">
            <a:xfrm>
              <a:off x="4141789" y="3411538"/>
              <a:ext cx="868363" cy="501650"/>
            </a:xfrm>
            <a:custGeom>
              <a:avLst/>
              <a:gdLst>
                <a:gd name="T0" fmla="*/ 324 w 333"/>
                <a:gd name="T1" fmla="*/ 24 h 192"/>
                <a:gd name="T2" fmla="*/ 42 w 333"/>
                <a:gd name="T3" fmla="*/ 187 h 192"/>
                <a:gd name="T4" fmla="*/ 9 w 333"/>
                <a:gd name="T5" fmla="*/ 187 h 192"/>
                <a:gd name="T6" fmla="*/ 9 w 333"/>
                <a:gd name="T7" fmla="*/ 168 h 192"/>
                <a:gd name="T8" fmla="*/ 291 w 333"/>
                <a:gd name="T9" fmla="*/ 5 h 192"/>
                <a:gd name="T10" fmla="*/ 324 w 333"/>
                <a:gd name="T11" fmla="*/ 5 h 192"/>
                <a:gd name="T12" fmla="*/ 324 w 333"/>
                <a:gd name="T13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92">
                  <a:moveTo>
                    <a:pt x="324" y="24"/>
                  </a:moveTo>
                  <a:cubicBezTo>
                    <a:pt x="42" y="187"/>
                    <a:pt x="42" y="187"/>
                    <a:pt x="42" y="187"/>
                  </a:cubicBezTo>
                  <a:cubicBezTo>
                    <a:pt x="33" y="192"/>
                    <a:pt x="18" y="192"/>
                    <a:pt x="9" y="187"/>
                  </a:cubicBezTo>
                  <a:cubicBezTo>
                    <a:pt x="0" y="182"/>
                    <a:pt x="0" y="173"/>
                    <a:pt x="9" y="168"/>
                  </a:cubicBezTo>
                  <a:cubicBezTo>
                    <a:pt x="291" y="5"/>
                    <a:pt x="291" y="5"/>
                    <a:pt x="291" y="5"/>
                  </a:cubicBezTo>
                  <a:cubicBezTo>
                    <a:pt x="300" y="0"/>
                    <a:pt x="315" y="0"/>
                    <a:pt x="324" y="5"/>
                  </a:cubicBezTo>
                  <a:cubicBezTo>
                    <a:pt x="333" y="10"/>
                    <a:pt x="333" y="19"/>
                    <a:pt x="324" y="24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任意多边形 35">
              <a:extLst>
                <a:ext uri="{FF2B5EF4-FFF2-40B4-BE49-F238E27FC236}">
                  <a16:creationId xmlns:a16="http://schemas.microsoft.com/office/drawing/2014/main" id="{D3D7E85A-CAAB-435D-825E-C3E8D761D3AE}"/>
                </a:ext>
              </a:extLst>
            </p:cNvPr>
            <p:cNvSpPr/>
            <p:nvPr/>
          </p:nvSpPr>
          <p:spPr bwMode="auto">
            <a:xfrm>
              <a:off x="5119689" y="3146426"/>
              <a:ext cx="349250" cy="203200"/>
            </a:xfrm>
            <a:custGeom>
              <a:avLst/>
              <a:gdLst>
                <a:gd name="T0" fmla="*/ 125 w 134"/>
                <a:gd name="T1" fmla="*/ 25 h 78"/>
                <a:gd name="T2" fmla="*/ 42 w 134"/>
                <a:gd name="T3" fmla="*/ 72 h 78"/>
                <a:gd name="T4" fmla="*/ 9 w 134"/>
                <a:gd name="T5" fmla="*/ 72 h 78"/>
                <a:gd name="T6" fmla="*/ 9 w 134"/>
                <a:gd name="T7" fmla="*/ 53 h 78"/>
                <a:gd name="T8" fmla="*/ 92 w 134"/>
                <a:gd name="T9" fmla="*/ 6 h 78"/>
                <a:gd name="T10" fmla="*/ 125 w 134"/>
                <a:gd name="T11" fmla="*/ 6 h 78"/>
                <a:gd name="T12" fmla="*/ 125 w 134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8">
                  <a:moveTo>
                    <a:pt x="125" y="25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33" y="78"/>
                    <a:pt x="18" y="78"/>
                    <a:pt x="9" y="72"/>
                  </a:cubicBezTo>
                  <a:cubicBezTo>
                    <a:pt x="0" y="67"/>
                    <a:pt x="0" y="59"/>
                    <a:pt x="9" y="5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101" y="0"/>
                    <a:pt x="116" y="0"/>
                    <a:pt x="125" y="6"/>
                  </a:cubicBezTo>
                  <a:cubicBezTo>
                    <a:pt x="134" y="11"/>
                    <a:pt x="134" y="19"/>
                    <a:pt x="125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任意多边形 36">
              <a:extLst>
                <a:ext uri="{FF2B5EF4-FFF2-40B4-BE49-F238E27FC236}">
                  <a16:creationId xmlns:a16="http://schemas.microsoft.com/office/drawing/2014/main" id="{7CF0E925-5081-4D3F-82C0-29F3AF9EAAB4}"/>
                </a:ext>
              </a:extLst>
            </p:cNvPr>
            <p:cNvSpPr/>
            <p:nvPr/>
          </p:nvSpPr>
          <p:spPr bwMode="auto">
            <a:xfrm>
              <a:off x="3814764" y="5057776"/>
              <a:ext cx="868363" cy="503238"/>
            </a:xfrm>
            <a:custGeom>
              <a:avLst/>
              <a:gdLst>
                <a:gd name="T0" fmla="*/ 324 w 333"/>
                <a:gd name="T1" fmla="*/ 25 h 193"/>
                <a:gd name="T2" fmla="*/ 42 w 333"/>
                <a:gd name="T3" fmla="*/ 188 h 193"/>
                <a:gd name="T4" fmla="*/ 9 w 333"/>
                <a:gd name="T5" fmla="*/ 188 h 193"/>
                <a:gd name="T6" fmla="*/ 9 w 333"/>
                <a:gd name="T7" fmla="*/ 169 h 193"/>
                <a:gd name="T8" fmla="*/ 291 w 333"/>
                <a:gd name="T9" fmla="*/ 6 h 193"/>
                <a:gd name="T10" fmla="*/ 324 w 333"/>
                <a:gd name="T11" fmla="*/ 6 h 193"/>
                <a:gd name="T12" fmla="*/ 324 w 333"/>
                <a:gd name="T13" fmla="*/ 2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93">
                  <a:moveTo>
                    <a:pt x="324" y="25"/>
                  </a:moveTo>
                  <a:cubicBezTo>
                    <a:pt x="42" y="188"/>
                    <a:pt x="42" y="188"/>
                    <a:pt x="42" y="188"/>
                  </a:cubicBezTo>
                  <a:cubicBezTo>
                    <a:pt x="33" y="193"/>
                    <a:pt x="18" y="193"/>
                    <a:pt x="9" y="188"/>
                  </a:cubicBezTo>
                  <a:cubicBezTo>
                    <a:pt x="0" y="183"/>
                    <a:pt x="0" y="174"/>
                    <a:pt x="9" y="169"/>
                  </a:cubicBezTo>
                  <a:cubicBezTo>
                    <a:pt x="291" y="6"/>
                    <a:pt x="291" y="6"/>
                    <a:pt x="291" y="6"/>
                  </a:cubicBezTo>
                  <a:cubicBezTo>
                    <a:pt x="300" y="0"/>
                    <a:pt x="315" y="0"/>
                    <a:pt x="324" y="6"/>
                  </a:cubicBezTo>
                  <a:cubicBezTo>
                    <a:pt x="333" y="11"/>
                    <a:pt x="333" y="20"/>
                    <a:pt x="324" y="25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任意多边形 37">
              <a:extLst>
                <a:ext uri="{FF2B5EF4-FFF2-40B4-BE49-F238E27FC236}">
                  <a16:creationId xmlns:a16="http://schemas.microsoft.com/office/drawing/2014/main" id="{E42967B2-6DFB-4AEE-B04E-0C4C01F002FF}"/>
                </a:ext>
              </a:extLst>
            </p:cNvPr>
            <p:cNvSpPr/>
            <p:nvPr/>
          </p:nvSpPr>
          <p:spPr bwMode="auto">
            <a:xfrm>
              <a:off x="4730751" y="4732338"/>
              <a:ext cx="522288" cy="300038"/>
            </a:xfrm>
            <a:custGeom>
              <a:avLst/>
              <a:gdLst>
                <a:gd name="T0" fmla="*/ 191 w 200"/>
                <a:gd name="T1" fmla="*/ 24 h 115"/>
                <a:gd name="T2" fmla="*/ 42 w 200"/>
                <a:gd name="T3" fmla="*/ 110 h 115"/>
                <a:gd name="T4" fmla="*/ 9 w 200"/>
                <a:gd name="T5" fmla="*/ 110 h 115"/>
                <a:gd name="T6" fmla="*/ 9 w 200"/>
                <a:gd name="T7" fmla="*/ 91 h 115"/>
                <a:gd name="T8" fmla="*/ 158 w 200"/>
                <a:gd name="T9" fmla="*/ 5 h 115"/>
                <a:gd name="T10" fmla="*/ 191 w 200"/>
                <a:gd name="T11" fmla="*/ 5 h 115"/>
                <a:gd name="T12" fmla="*/ 191 w 200"/>
                <a:gd name="T13" fmla="*/ 2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115">
                  <a:moveTo>
                    <a:pt x="191" y="24"/>
                  </a:moveTo>
                  <a:cubicBezTo>
                    <a:pt x="42" y="110"/>
                    <a:pt x="42" y="110"/>
                    <a:pt x="42" y="110"/>
                  </a:cubicBezTo>
                  <a:cubicBezTo>
                    <a:pt x="33" y="115"/>
                    <a:pt x="18" y="115"/>
                    <a:pt x="9" y="110"/>
                  </a:cubicBezTo>
                  <a:cubicBezTo>
                    <a:pt x="0" y="105"/>
                    <a:pt x="0" y="96"/>
                    <a:pt x="9" y="91"/>
                  </a:cubicBezTo>
                  <a:cubicBezTo>
                    <a:pt x="158" y="5"/>
                    <a:pt x="158" y="5"/>
                    <a:pt x="158" y="5"/>
                  </a:cubicBezTo>
                  <a:cubicBezTo>
                    <a:pt x="167" y="0"/>
                    <a:pt x="182" y="0"/>
                    <a:pt x="191" y="5"/>
                  </a:cubicBezTo>
                  <a:cubicBezTo>
                    <a:pt x="200" y="10"/>
                    <a:pt x="200" y="19"/>
                    <a:pt x="191" y="24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任意多边形 38">
              <a:extLst>
                <a:ext uri="{FF2B5EF4-FFF2-40B4-BE49-F238E27FC236}">
                  <a16:creationId xmlns:a16="http://schemas.microsoft.com/office/drawing/2014/main" id="{C47C31A5-A6A8-4C47-AD47-091B630AB2EE}"/>
                </a:ext>
              </a:extLst>
            </p:cNvPr>
            <p:cNvSpPr/>
            <p:nvPr/>
          </p:nvSpPr>
          <p:spPr bwMode="auto">
            <a:xfrm>
              <a:off x="4033839" y="4710113"/>
              <a:ext cx="868363" cy="501650"/>
            </a:xfrm>
            <a:custGeom>
              <a:avLst/>
              <a:gdLst>
                <a:gd name="T0" fmla="*/ 324 w 333"/>
                <a:gd name="T1" fmla="*/ 24 h 192"/>
                <a:gd name="T2" fmla="*/ 42 w 333"/>
                <a:gd name="T3" fmla="*/ 187 h 192"/>
                <a:gd name="T4" fmla="*/ 9 w 333"/>
                <a:gd name="T5" fmla="*/ 187 h 192"/>
                <a:gd name="T6" fmla="*/ 9 w 333"/>
                <a:gd name="T7" fmla="*/ 168 h 192"/>
                <a:gd name="T8" fmla="*/ 291 w 333"/>
                <a:gd name="T9" fmla="*/ 5 h 192"/>
                <a:gd name="T10" fmla="*/ 324 w 333"/>
                <a:gd name="T11" fmla="*/ 5 h 192"/>
                <a:gd name="T12" fmla="*/ 324 w 333"/>
                <a:gd name="T13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92">
                  <a:moveTo>
                    <a:pt x="324" y="24"/>
                  </a:moveTo>
                  <a:cubicBezTo>
                    <a:pt x="42" y="187"/>
                    <a:pt x="42" y="187"/>
                    <a:pt x="42" y="187"/>
                  </a:cubicBezTo>
                  <a:cubicBezTo>
                    <a:pt x="33" y="192"/>
                    <a:pt x="18" y="192"/>
                    <a:pt x="9" y="187"/>
                  </a:cubicBezTo>
                  <a:cubicBezTo>
                    <a:pt x="0" y="182"/>
                    <a:pt x="0" y="173"/>
                    <a:pt x="9" y="168"/>
                  </a:cubicBezTo>
                  <a:cubicBezTo>
                    <a:pt x="291" y="5"/>
                    <a:pt x="291" y="5"/>
                    <a:pt x="291" y="5"/>
                  </a:cubicBezTo>
                  <a:cubicBezTo>
                    <a:pt x="300" y="0"/>
                    <a:pt x="315" y="0"/>
                    <a:pt x="324" y="5"/>
                  </a:cubicBezTo>
                  <a:cubicBezTo>
                    <a:pt x="333" y="10"/>
                    <a:pt x="333" y="19"/>
                    <a:pt x="324" y="2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任意多边形 39">
              <a:extLst>
                <a:ext uri="{FF2B5EF4-FFF2-40B4-BE49-F238E27FC236}">
                  <a16:creationId xmlns:a16="http://schemas.microsoft.com/office/drawing/2014/main" id="{3FA3C7DC-4CA1-4BAD-89D5-07095CF00191}"/>
                </a:ext>
              </a:extLst>
            </p:cNvPr>
            <p:cNvSpPr/>
            <p:nvPr/>
          </p:nvSpPr>
          <p:spPr bwMode="auto">
            <a:xfrm>
              <a:off x="4973639" y="4165601"/>
              <a:ext cx="869950" cy="503238"/>
            </a:xfrm>
            <a:custGeom>
              <a:avLst/>
              <a:gdLst>
                <a:gd name="T0" fmla="*/ 325 w 334"/>
                <a:gd name="T1" fmla="*/ 25 h 193"/>
                <a:gd name="T2" fmla="*/ 43 w 334"/>
                <a:gd name="T3" fmla="*/ 188 h 193"/>
                <a:gd name="T4" fmla="*/ 9 w 334"/>
                <a:gd name="T5" fmla="*/ 188 h 193"/>
                <a:gd name="T6" fmla="*/ 9 w 334"/>
                <a:gd name="T7" fmla="*/ 169 h 193"/>
                <a:gd name="T8" fmla="*/ 291 w 334"/>
                <a:gd name="T9" fmla="*/ 6 h 193"/>
                <a:gd name="T10" fmla="*/ 325 w 334"/>
                <a:gd name="T11" fmla="*/ 6 h 193"/>
                <a:gd name="T12" fmla="*/ 325 w 334"/>
                <a:gd name="T13" fmla="*/ 2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93">
                  <a:moveTo>
                    <a:pt x="325" y="25"/>
                  </a:moveTo>
                  <a:cubicBezTo>
                    <a:pt x="43" y="188"/>
                    <a:pt x="43" y="188"/>
                    <a:pt x="43" y="188"/>
                  </a:cubicBezTo>
                  <a:cubicBezTo>
                    <a:pt x="33" y="193"/>
                    <a:pt x="19" y="193"/>
                    <a:pt x="9" y="188"/>
                  </a:cubicBezTo>
                  <a:cubicBezTo>
                    <a:pt x="0" y="182"/>
                    <a:pt x="0" y="174"/>
                    <a:pt x="9" y="169"/>
                  </a:cubicBezTo>
                  <a:cubicBezTo>
                    <a:pt x="291" y="6"/>
                    <a:pt x="291" y="6"/>
                    <a:pt x="291" y="6"/>
                  </a:cubicBezTo>
                  <a:cubicBezTo>
                    <a:pt x="301" y="0"/>
                    <a:pt x="315" y="0"/>
                    <a:pt x="325" y="6"/>
                  </a:cubicBezTo>
                  <a:cubicBezTo>
                    <a:pt x="334" y="11"/>
                    <a:pt x="334" y="19"/>
                    <a:pt x="325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任意多边形 40">
              <a:extLst>
                <a:ext uri="{FF2B5EF4-FFF2-40B4-BE49-F238E27FC236}">
                  <a16:creationId xmlns:a16="http://schemas.microsoft.com/office/drawing/2014/main" id="{96DF9A56-B481-4D95-893D-76EE9C7E813C}"/>
                </a:ext>
              </a:extLst>
            </p:cNvPr>
            <p:cNvSpPr/>
            <p:nvPr/>
          </p:nvSpPr>
          <p:spPr bwMode="auto">
            <a:xfrm>
              <a:off x="5395914" y="4368801"/>
              <a:ext cx="871538" cy="501650"/>
            </a:xfrm>
            <a:custGeom>
              <a:avLst/>
              <a:gdLst>
                <a:gd name="T0" fmla="*/ 325 w 334"/>
                <a:gd name="T1" fmla="*/ 24 h 192"/>
                <a:gd name="T2" fmla="*/ 43 w 334"/>
                <a:gd name="T3" fmla="*/ 187 h 192"/>
                <a:gd name="T4" fmla="*/ 9 w 334"/>
                <a:gd name="T5" fmla="*/ 187 h 192"/>
                <a:gd name="T6" fmla="*/ 9 w 334"/>
                <a:gd name="T7" fmla="*/ 168 h 192"/>
                <a:gd name="T8" fmla="*/ 291 w 334"/>
                <a:gd name="T9" fmla="*/ 5 h 192"/>
                <a:gd name="T10" fmla="*/ 325 w 334"/>
                <a:gd name="T11" fmla="*/ 5 h 192"/>
                <a:gd name="T12" fmla="*/ 325 w 334"/>
                <a:gd name="T13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92">
                  <a:moveTo>
                    <a:pt x="325" y="24"/>
                  </a:moveTo>
                  <a:cubicBezTo>
                    <a:pt x="43" y="187"/>
                    <a:pt x="43" y="187"/>
                    <a:pt x="43" y="187"/>
                  </a:cubicBezTo>
                  <a:cubicBezTo>
                    <a:pt x="33" y="192"/>
                    <a:pt x="19" y="192"/>
                    <a:pt x="9" y="187"/>
                  </a:cubicBezTo>
                  <a:cubicBezTo>
                    <a:pt x="0" y="182"/>
                    <a:pt x="0" y="173"/>
                    <a:pt x="9" y="168"/>
                  </a:cubicBezTo>
                  <a:cubicBezTo>
                    <a:pt x="291" y="5"/>
                    <a:pt x="291" y="5"/>
                    <a:pt x="291" y="5"/>
                  </a:cubicBezTo>
                  <a:cubicBezTo>
                    <a:pt x="301" y="0"/>
                    <a:pt x="316" y="0"/>
                    <a:pt x="325" y="5"/>
                  </a:cubicBezTo>
                  <a:cubicBezTo>
                    <a:pt x="334" y="10"/>
                    <a:pt x="334" y="19"/>
                    <a:pt x="325" y="2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任意多边形 41">
              <a:extLst>
                <a:ext uri="{FF2B5EF4-FFF2-40B4-BE49-F238E27FC236}">
                  <a16:creationId xmlns:a16="http://schemas.microsoft.com/office/drawing/2014/main" id="{CF55B79B-4F7F-48A4-85ED-047EADAF94D6}"/>
                </a:ext>
              </a:extLst>
            </p:cNvPr>
            <p:cNvSpPr/>
            <p:nvPr/>
          </p:nvSpPr>
          <p:spPr bwMode="auto">
            <a:xfrm>
              <a:off x="4527551" y="5170488"/>
              <a:ext cx="349250" cy="203200"/>
            </a:xfrm>
            <a:custGeom>
              <a:avLst/>
              <a:gdLst>
                <a:gd name="T0" fmla="*/ 125 w 134"/>
                <a:gd name="T1" fmla="*/ 25 h 78"/>
                <a:gd name="T2" fmla="*/ 43 w 134"/>
                <a:gd name="T3" fmla="*/ 72 h 78"/>
                <a:gd name="T4" fmla="*/ 10 w 134"/>
                <a:gd name="T5" fmla="*/ 72 h 78"/>
                <a:gd name="T6" fmla="*/ 10 w 134"/>
                <a:gd name="T7" fmla="*/ 53 h 78"/>
                <a:gd name="T8" fmla="*/ 92 w 134"/>
                <a:gd name="T9" fmla="*/ 5 h 78"/>
                <a:gd name="T10" fmla="*/ 125 w 134"/>
                <a:gd name="T11" fmla="*/ 5 h 78"/>
                <a:gd name="T12" fmla="*/ 125 w 134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8">
                  <a:moveTo>
                    <a:pt x="125" y="25"/>
                  </a:moveTo>
                  <a:cubicBezTo>
                    <a:pt x="43" y="72"/>
                    <a:pt x="43" y="72"/>
                    <a:pt x="43" y="72"/>
                  </a:cubicBezTo>
                  <a:cubicBezTo>
                    <a:pt x="34" y="78"/>
                    <a:pt x="19" y="78"/>
                    <a:pt x="10" y="72"/>
                  </a:cubicBezTo>
                  <a:cubicBezTo>
                    <a:pt x="0" y="67"/>
                    <a:pt x="0" y="58"/>
                    <a:pt x="10" y="53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101" y="0"/>
                    <a:pt x="116" y="0"/>
                    <a:pt x="125" y="5"/>
                  </a:cubicBezTo>
                  <a:cubicBezTo>
                    <a:pt x="134" y="11"/>
                    <a:pt x="134" y="19"/>
                    <a:pt x="125" y="25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任意多边形 42">
              <a:extLst>
                <a:ext uri="{FF2B5EF4-FFF2-40B4-BE49-F238E27FC236}">
                  <a16:creationId xmlns:a16="http://schemas.microsoft.com/office/drawing/2014/main" id="{86CCDEBC-AD01-4FA5-A8FA-87F5F1A13779}"/>
                </a:ext>
              </a:extLst>
            </p:cNvPr>
            <p:cNvSpPr/>
            <p:nvPr/>
          </p:nvSpPr>
          <p:spPr bwMode="auto">
            <a:xfrm>
              <a:off x="6373814" y="4103688"/>
              <a:ext cx="349250" cy="203200"/>
            </a:xfrm>
            <a:custGeom>
              <a:avLst/>
              <a:gdLst>
                <a:gd name="T0" fmla="*/ 125 w 134"/>
                <a:gd name="T1" fmla="*/ 25 h 78"/>
                <a:gd name="T2" fmla="*/ 43 w 134"/>
                <a:gd name="T3" fmla="*/ 72 h 78"/>
                <a:gd name="T4" fmla="*/ 10 w 134"/>
                <a:gd name="T5" fmla="*/ 72 h 78"/>
                <a:gd name="T6" fmla="*/ 10 w 134"/>
                <a:gd name="T7" fmla="*/ 53 h 78"/>
                <a:gd name="T8" fmla="*/ 92 w 134"/>
                <a:gd name="T9" fmla="*/ 6 h 78"/>
                <a:gd name="T10" fmla="*/ 125 w 134"/>
                <a:gd name="T11" fmla="*/ 6 h 78"/>
                <a:gd name="T12" fmla="*/ 125 w 134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8">
                  <a:moveTo>
                    <a:pt x="125" y="25"/>
                  </a:moveTo>
                  <a:cubicBezTo>
                    <a:pt x="43" y="72"/>
                    <a:pt x="43" y="72"/>
                    <a:pt x="43" y="72"/>
                  </a:cubicBezTo>
                  <a:cubicBezTo>
                    <a:pt x="34" y="78"/>
                    <a:pt x="19" y="78"/>
                    <a:pt x="10" y="72"/>
                  </a:cubicBezTo>
                  <a:cubicBezTo>
                    <a:pt x="0" y="67"/>
                    <a:pt x="0" y="59"/>
                    <a:pt x="10" y="5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101" y="0"/>
                    <a:pt x="116" y="0"/>
                    <a:pt x="125" y="6"/>
                  </a:cubicBezTo>
                  <a:cubicBezTo>
                    <a:pt x="134" y="11"/>
                    <a:pt x="134" y="19"/>
                    <a:pt x="125" y="25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任意多边形 43">
              <a:extLst>
                <a:ext uri="{FF2B5EF4-FFF2-40B4-BE49-F238E27FC236}">
                  <a16:creationId xmlns:a16="http://schemas.microsoft.com/office/drawing/2014/main" id="{55BF2DE2-A054-4B5C-B56A-246A439C3D84}"/>
                </a:ext>
              </a:extLst>
            </p:cNvPr>
            <p:cNvSpPr/>
            <p:nvPr/>
          </p:nvSpPr>
          <p:spPr bwMode="auto">
            <a:xfrm>
              <a:off x="4179889" y="4403726"/>
              <a:ext cx="868363" cy="500063"/>
            </a:xfrm>
            <a:custGeom>
              <a:avLst/>
              <a:gdLst>
                <a:gd name="T0" fmla="*/ 324 w 333"/>
                <a:gd name="T1" fmla="*/ 24 h 192"/>
                <a:gd name="T2" fmla="*/ 42 w 333"/>
                <a:gd name="T3" fmla="*/ 187 h 192"/>
                <a:gd name="T4" fmla="*/ 9 w 333"/>
                <a:gd name="T5" fmla="*/ 187 h 192"/>
                <a:gd name="T6" fmla="*/ 9 w 333"/>
                <a:gd name="T7" fmla="*/ 168 h 192"/>
                <a:gd name="T8" fmla="*/ 291 w 333"/>
                <a:gd name="T9" fmla="*/ 5 h 192"/>
                <a:gd name="T10" fmla="*/ 324 w 333"/>
                <a:gd name="T11" fmla="*/ 5 h 192"/>
                <a:gd name="T12" fmla="*/ 324 w 333"/>
                <a:gd name="T13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92">
                  <a:moveTo>
                    <a:pt x="324" y="24"/>
                  </a:moveTo>
                  <a:cubicBezTo>
                    <a:pt x="42" y="187"/>
                    <a:pt x="42" y="187"/>
                    <a:pt x="42" y="187"/>
                  </a:cubicBezTo>
                  <a:cubicBezTo>
                    <a:pt x="33" y="192"/>
                    <a:pt x="18" y="192"/>
                    <a:pt x="9" y="187"/>
                  </a:cubicBezTo>
                  <a:cubicBezTo>
                    <a:pt x="0" y="182"/>
                    <a:pt x="0" y="173"/>
                    <a:pt x="9" y="168"/>
                  </a:cubicBezTo>
                  <a:cubicBezTo>
                    <a:pt x="291" y="5"/>
                    <a:pt x="291" y="5"/>
                    <a:pt x="291" y="5"/>
                  </a:cubicBezTo>
                  <a:cubicBezTo>
                    <a:pt x="300" y="0"/>
                    <a:pt x="315" y="0"/>
                    <a:pt x="324" y="5"/>
                  </a:cubicBezTo>
                  <a:cubicBezTo>
                    <a:pt x="333" y="10"/>
                    <a:pt x="333" y="19"/>
                    <a:pt x="324" y="2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任意多边形 44">
              <a:extLst>
                <a:ext uri="{FF2B5EF4-FFF2-40B4-BE49-F238E27FC236}">
                  <a16:creationId xmlns:a16="http://schemas.microsoft.com/office/drawing/2014/main" id="{BED7EF55-4511-4EA4-8537-E7E004486506}"/>
                </a:ext>
              </a:extLst>
            </p:cNvPr>
            <p:cNvSpPr/>
            <p:nvPr/>
          </p:nvSpPr>
          <p:spPr bwMode="auto">
            <a:xfrm>
              <a:off x="5157789" y="4137026"/>
              <a:ext cx="350838" cy="203200"/>
            </a:xfrm>
            <a:custGeom>
              <a:avLst/>
              <a:gdLst>
                <a:gd name="T0" fmla="*/ 125 w 134"/>
                <a:gd name="T1" fmla="*/ 25 h 78"/>
                <a:gd name="T2" fmla="*/ 42 w 134"/>
                <a:gd name="T3" fmla="*/ 72 h 78"/>
                <a:gd name="T4" fmla="*/ 9 w 134"/>
                <a:gd name="T5" fmla="*/ 72 h 78"/>
                <a:gd name="T6" fmla="*/ 9 w 134"/>
                <a:gd name="T7" fmla="*/ 53 h 78"/>
                <a:gd name="T8" fmla="*/ 91 w 134"/>
                <a:gd name="T9" fmla="*/ 6 h 78"/>
                <a:gd name="T10" fmla="*/ 125 w 134"/>
                <a:gd name="T11" fmla="*/ 6 h 78"/>
                <a:gd name="T12" fmla="*/ 125 w 134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8">
                  <a:moveTo>
                    <a:pt x="125" y="25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33" y="78"/>
                    <a:pt x="18" y="78"/>
                    <a:pt x="9" y="72"/>
                  </a:cubicBezTo>
                  <a:cubicBezTo>
                    <a:pt x="0" y="67"/>
                    <a:pt x="0" y="59"/>
                    <a:pt x="9" y="53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101" y="0"/>
                    <a:pt x="115" y="0"/>
                    <a:pt x="125" y="6"/>
                  </a:cubicBezTo>
                  <a:cubicBezTo>
                    <a:pt x="134" y="11"/>
                    <a:pt x="134" y="19"/>
                    <a:pt x="125" y="25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任意多边形 45">
              <a:extLst>
                <a:ext uri="{FF2B5EF4-FFF2-40B4-BE49-F238E27FC236}">
                  <a16:creationId xmlns:a16="http://schemas.microsoft.com/office/drawing/2014/main" id="{06DDD35C-CCB6-4B03-B3A5-960BF436CF97}"/>
                </a:ext>
              </a:extLst>
            </p:cNvPr>
            <p:cNvSpPr/>
            <p:nvPr/>
          </p:nvSpPr>
          <p:spPr bwMode="auto">
            <a:xfrm>
              <a:off x="4945064" y="4849813"/>
              <a:ext cx="868363" cy="500063"/>
            </a:xfrm>
            <a:custGeom>
              <a:avLst/>
              <a:gdLst>
                <a:gd name="T0" fmla="*/ 324 w 333"/>
                <a:gd name="T1" fmla="*/ 24 h 192"/>
                <a:gd name="T2" fmla="*/ 42 w 333"/>
                <a:gd name="T3" fmla="*/ 187 h 192"/>
                <a:gd name="T4" fmla="*/ 9 w 333"/>
                <a:gd name="T5" fmla="*/ 187 h 192"/>
                <a:gd name="T6" fmla="*/ 9 w 333"/>
                <a:gd name="T7" fmla="*/ 168 h 192"/>
                <a:gd name="T8" fmla="*/ 291 w 333"/>
                <a:gd name="T9" fmla="*/ 5 h 192"/>
                <a:gd name="T10" fmla="*/ 324 w 333"/>
                <a:gd name="T11" fmla="*/ 5 h 192"/>
                <a:gd name="T12" fmla="*/ 324 w 333"/>
                <a:gd name="T13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92">
                  <a:moveTo>
                    <a:pt x="324" y="24"/>
                  </a:moveTo>
                  <a:cubicBezTo>
                    <a:pt x="42" y="187"/>
                    <a:pt x="42" y="187"/>
                    <a:pt x="42" y="187"/>
                  </a:cubicBezTo>
                  <a:cubicBezTo>
                    <a:pt x="33" y="192"/>
                    <a:pt x="18" y="192"/>
                    <a:pt x="9" y="187"/>
                  </a:cubicBezTo>
                  <a:cubicBezTo>
                    <a:pt x="0" y="182"/>
                    <a:pt x="0" y="173"/>
                    <a:pt x="9" y="168"/>
                  </a:cubicBezTo>
                  <a:cubicBezTo>
                    <a:pt x="291" y="5"/>
                    <a:pt x="291" y="5"/>
                    <a:pt x="291" y="5"/>
                  </a:cubicBezTo>
                  <a:cubicBezTo>
                    <a:pt x="300" y="0"/>
                    <a:pt x="315" y="0"/>
                    <a:pt x="324" y="5"/>
                  </a:cubicBezTo>
                  <a:cubicBezTo>
                    <a:pt x="333" y="10"/>
                    <a:pt x="333" y="19"/>
                    <a:pt x="324" y="24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任意多边形 46">
              <a:extLst>
                <a:ext uri="{FF2B5EF4-FFF2-40B4-BE49-F238E27FC236}">
                  <a16:creationId xmlns:a16="http://schemas.microsoft.com/office/drawing/2014/main" id="{A89C412D-C8B1-4B46-8957-AEB7D11521C2}"/>
                </a:ext>
              </a:extLst>
            </p:cNvPr>
            <p:cNvSpPr/>
            <p:nvPr/>
          </p:nvSpPr>
          <p:spPr bwMode="auto">
            <a:xfrm>
              <a:off x="5859464" y="4521201"/>
              <a:ext cx="522288" cy="301625"/>
            </a:xfrm>
            <a:custGeom>
              <a:avLst/>
              <a:gdLst>
                <a:gd name="T0" fmla="*/ 191 w 200"/>
                <a:gd name="T1" fmla="*/ 24 h 116"/>
                <a:gd name="T2" fmla="*/ 42 w 200"/>
                <a:gd name="T3" fmla="*/ 110 h 116"/>
                <a:gd name="T4" fmla="*/ 9 w 200"/>
                <a:gd name="T5" fmla="*/ 110 h 116"/>
                <a:gd name="T6" fmla="*/ 9 w 200"/>
                <a:gd name="T7" fmla="*/ 91 h 116"/>
                <a:gd name="T8" fmla="*/ 158 w 200"/>
                <a:gd name="T9" fmla="*/ 5 h 116"/>
                <a:gd name="T10" fmla="*/ 191 w 200"/>
                <a:gd name="T11" fmla="*/ 5 h 116"/>
                <a:gd name="T12" fmla="*/ 191 w 200"/>
                <a:gd name="T13" fmla="*/ 2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116">
                  <a:moveTo>
                    <a:pt x="191" y="24"/>
                  </a:moveTo>
                  <a:cubicBezTo>
                    <a:pt x="42" y="110"/>
                    <a:pt x="42" y="110"/>
                    <a:pt x="42" y="110"/>
                  </a:cubicBezTo>
                  <a:cubicBezTo>
                    <a:pt x="33" y="116"/>
                    <a:pt x="18" y="116"/>
                    <a:pt x="9" y="110"/>
                  </a:cubicBezTo>
                  <a:cubicBezTo>
                    <a:pt x="0" y="105"/>
                    <a:pt x="0" y="96"/>
                    <a:pt x="9" y="91"/>
                  </a:cubicBezTo>
                  <a:cubicBezTo>
                    <a:pt x="158" y="5"/>
                    <a:pt x="158" y="5"/>
                    <a:pt x="158" y="5"/>
                  </a:cubicBezTo>
                  <a:cubicBezTo>
                    <a:pt x="167" y="0"/>
                    <a:pt x="182" y="0"/>
                    <a:pt x="191" y="5"/>
                  </a:cubicBezTo>
                  <a:cubicBezTo>
                    <a:pt x="200" y="10"/>
                    <a:pt x="200" y="19"/>
                    <a:pt x="191" y="2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任意多边形 47">
              <a:extLst>
                <a:ext uri="{FF2B5EF4-FFF2-40B4-BE49-F238E27FC236}">
                  <a16:creationId xmlns:a16="http://schemas.microsoft.com/office/drawing/2014/main" id="{56B8E84E-40F6-4F4E-BFB9-6A766007312E}"/>
                </a:ext>
              </a:extLst>
            </p:cNvPr>
            <p:cNvSpPr/>
            <p:nvPr/>
          </p:nvSpPr>
          <p:spPr bwMode="auto">
            <a:xfrm>
              <a:off x="5160964" y="4498976"/>
              <a:ext cx="871538" cy="503238"/>
            </a:xfrm>
            <a:custGeom>
              <a:avLst/>
              <a:gdLst>
                <a:gd name="T0" fmla="*/ 325 w 334"/>
                <a:gd name="T1" fmla="*/ 24 h 193"/>
                <a:gd name="T2" fmla="*/ 43 w 334"/>
                <a:gd name="T3" fmla="*/ 187 h 193"/>
                <a:gd name="T4" fmla="*/ 9 w 334"/>
                <a:gd name="T5" fmla="*/ 187 h 193"/>
                <a:gd name="T6" fmla="*/ 9 w 334"/>
                <a:gd name="T7" fmla="*/ 168 h 193"/>
                <a:gd name="T8" fmla="*/ 292 w 334"/>
                <a:gd name="T9" fmla="*/ 5 h 193"/>
                <a:gd name="T10" fmla="*/ 325 w 334"/>
                <a:gd name="T11" fmla="*/ 5 h 193"/>
                <a:gd name="T12" fmla="*/ 325 w 334"/>
                <a:gd name="T13" fmla="*/ 24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93">
                  <a:moveTo>
                    <a:pt x="325" y="24"/>
                  </a:moveTo>
                  <a:cubicBezTo>
                    <a:pt x="43" y="187"/>
                    <a:pt x="43" y="187"/>
                    <a:pt x="43" y="187"/>
                  </a:cubicBezTo>
                  <a:cubicBezTo>
                    <a:pt x="33" y="193"/>
                    <a:pt x="19" y="193"/>
                    <a:pt x="9" y="187"/>
                  </a:cubicBezTo>
                  <a:cubicBezTo>
                    <a:pt x="0" y="182"/>
                    <a:pt x="0" y="173"/>
                    <a:pt x="9" y="168"/>
                  </a:cubicBezTo>
                  <a:cubicBezTo>
                    <a:pt x="292" y="5"/>
                    <a:pt x="292" y="5"/>
                    <a:pt x="292" y="5"/>
                  </a:cubicBezTo>
                  <a:cubicBezTo>
                    <a:pt x="301" y="0"/>
                    <a:pt x="316" y="0"/>
                    <a:pt x="325" y="5"/>
                  </a:cubicBezTo>
                  <a:cubicBezTo>
                    <a:pt x="334" y="10"/>
                    <a:pt x="334" y="19"/>
                    <a:pt x="325" y="24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任意多边形 48">
              <a:extLst>
                <a:ext uri="{FF2B5EF4-FFF2-40B4-BE49-F238E27FC236}">
                  <a16:creationId xmlns:a16="http://schemas.microsoft.com/office/drawing/2014/main" id="{CABEE1BB-EEF9-4193-8469-34D0D4449806}"/>
                </a:ext>
              </a:extLst>
            </p:cNvPr>
            <p:cNvSpPr/>
            <p:nvPr/>
          </p:nvSpPr>
          <p:spPr bwMode="auto">
            <a:xfrm>
              <a:off x="6102351" y="3954463"/>
              <a:ext cx="871538" cy="503238"/>
            </a:xfrm>
            <a:custGeom>
              <a:avLst/>
              <a:gdLst>
                <a:gd name="T0" fmla="*/ 324 w 334"/>
                <a:gd name="T1" fmla="*/ 25 h 193"/>
                <a:gd name="T2" fmla="*/ 42 w 334"/>
                <a:gd name="T3" fmla="*/ 188 h 193"/>
                <a:gd name="T4" fmla="*/ 9 w 334"/>
                <a:gd name="T5" fmla="*/ 188 h 193"/>
                <a:gd name="T6" fmla="*/ 9 w 334"/>
                <a:gd name="T7" fmla="*/ 188 h 193"/>
                <a:gd name="T8" fmla="*/ 9 w 334"/>
                <a:gd name="T9" fmla="*/ 169 h 193"/>
                <a:gd name="T10" fmla="*/ 291 w 334"/>
                <a:gd name="T11" fmla="*/ 6 h 193"/>
                <a:gd name="T12" fmla="*/ 324 w 334"/>
                <a:gd name="T13" fmla="*/ 6 h 193"/>
                <a:gd name="T14" fmla="*/ 324 w 334"/>
                <a:gd name="T15" fmla="*/ 2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4" h="193">
                  <a:moveTo>
                    <a:pt x="324" y="25"/>
                  </a:moveTo>
                  <a:cubicBezTo>
                    <a:pt x="42" y="188"/>
                    <a:pt x="42" y="188"/>
                    <a:pt x="42" y="188"/>
                  </a:cubicBezTo>
                  <a:cubicBezTo>
                    <a:pt x="33" y="193"/>
                    <a:pt x="18" y="193"/>
                    <a:pt x="9" y="188"/>
                  </a:cubicBezTo>
                  <a:cubicBezTo>
                    <a:pt x="9" y="188"/>
                    <a:pt x="9" y="188"/>
                    <a:pt x="9" y="188"/>
                  </a:cubicBezTo>
                  <a:cubicBezTo>
                    <a:pt x="0" y="183"/>
                    <a:pt x="0" y="174"/>
                    <a:pt x="9" y="169"/>
                  </a:cubicBezTo>
                  <a:cubicBezTo>
                    <a:pt x="291" y="6"/>
                    <a:pt x="291" y="6"/>
                    <a:pt x="291" y="6"/>
                  </a:cubicBezTo>
                  <a:cubicBezTo>
                    <a:pt x="300" y="0"/>
                    <a:pt x="315" y="0"/>
                    <a:pt x="324" y="6"/>
                  </a:cubicBezTo>
                  <a:cubicBezTo>
                    <a:pt x="334" y="11"/>
                    <a:pt x="334" y="20"/>
                    <a:pt x="324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任意多边形 49">
              <a:extLst>
                <a:ext uri="{FF2B5EF4-FFF2-40B4-BE49-F238E27FC236}">
                  <a16:creationId xmlns:a16="http://schemas.microsoft.com/office/drawing/2014/main" id="{7E56348B-25BD-42C7-B16C-3ECE32CF32BB}"/>
                </a:ext>
              </a:extLst>
            </p:cNvPr>
            <p:cNvSpPr/>
            <p:nvPr/>
          </p:nvSpPr>
          <p:spPr bwMode="auto">
            <a:xfrm>
              <a:off x="6524626" y="4157663"/>
              <a:ext cx="871538" cy="503238"/>
            </a:xfrm>
            <a:custGeom>
              <a:avLst/>
              <a:gdLst>
                <a:gd name="T0" fmla="*/ 324 w 334"/>
                <a:gd name="T1" fmla="*/ 24 h 193"/>
                <a:gd name="T2" fmla="*/ 42 w 334"/>
                <a:gd name="T3" fmla="*/ 187 h 193"/>
                <a:gd name="T4" fmla="*/ 9 w 334"/>
                <a:gd name="T5" fmla="*/ 187 h 193"/>
                <a:gd name="T6" fmla="*/ 9 w 334"/>
                <a:gd name="T7" fmla="*/ 168 h 193"/>
                <a:gd name="T8" fmla="*/ 291 w 334"/>
                <a:gd name="T9" fmla="*/ 5 h 193"/>
                <a:gd name="T10" fmla="*/ 324 w 334"/>
                <a:gd name="T11" fmla="*/ 5 h 193"/>
                <a:gd name="T12" fmla="*/ 324 w 334"/>
                <a:gd name="T13" fmla="*/ 24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93">
                  <a:moveTo>
                    <a:pt x="324" y="24"/>
                  </a:moveTo>
                  <a:cubicBezTo>
                    <a:pt x="42" y="187"/>
                    <a:pt x="42" y="187"/>
                    <a:pt x="42" y="187"/>
                  </a:cubicBezTo>
                  <a:cubicBezTo>
                    <a:pt x="33" y="193"/>
                    <a:pt x="18" y="193"/>
                    <a:pt x="9" y="187"/>
                  </a:cubicBezTo>
                  <a:cubicBezTo>
                    <a:pt x="0" y="182"/>
                    <a:pt x="0" y="173"/>
                    <a:pt x="9" y="168"/>
                  </a:cubicBezTo>
                  <a:cubicBezTo>
                    <a:pt x="291" y="5"/>
                    <a:pt x="291" y="5"/>
                    <a:pt x="291" y="5"/>
                  </a:cubicBezTo>
                  <a:cubicBezTo>
                    <a:pt x="300" y="0"/>
                    <a:pt x="315" y="0"/>
                    <a:pt x="324" y="5"/>
                  </a:cubicBezTo>
                  <a:cubicBezTo>
                    <a:pt x="334" y="10"/>
                    <a:pt x="334" y="19"/>
                    <a:pt x="324" y="24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任意多边形 50">
              <a:extLst>
                <a:ext uri="{FF2B5EF4-FFF2-40B4-BE49-F238E27FC236}">
                  <a16:creationId xmlns:a16="http://schemas.microsoft.com/office/drawing/2014/main" id="{E31F8CBD-53F7-491C-9CB9-050497E6D9BD}"/>
                </a:ext>
              </a:extLst>
            </p:cNvPr>
            <p:cNvSpPr/>
            <p:nvPr/>
          </p:nvSpPr>
          <p:spPr bwMode="auto">
            <a:xfrm>
              <a:off x="5656264" y="4959351"/>
              <a:ext cx="349250" cy="203200"/>
            </a:xfrm>
            <a:custGeom>
              <a:avLst/>
              <a:gdLst>
                <a:gd name="T0" fmla="*/ 125 w 134"/>
                <a:gd name="T1" fmla="*/ 25 h 78"/>
                <a:gd name="T2" fmla="*/ 43 w 134"/>
                <a:gd name="T3" fmla="*/ 73 h 78"/>
                <a:gd name="T4" fmla="*/ 9 w 134"/>
                <a:gd name="T5" fmla="*/ 73 h 78"/>
                <a:gd name="T6" fmla="*/ 9 w 134"/>
                <a:gd name="T7" fmla="*/ 53 h 78"/>
                <a:gd name="T8" fmla="*/ 92 w 134"/>
                <a:gd name="T9" fmla="*/ 6 h 78"/>
                <a:gd name="T10" fmla="*/ 125 w 134"/>
                <a:gd name="T11" fmla="*/ 6 h 78"/>
                <a:gd name="T12" fmla="*/ 125 w 134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8">
                  <a:moveTo>
                    <a:pt x="125" y="25"/>
                  </a:moveTo>
                  <a:cubicBezTo>
                    <a:pt x="43" y="73"/>
                    <a:pt x="43" y="73"/>
                    <a:pt x="43" y="73"/>
                  </a:cubicBezTo>
                  <a:cubicBezTo>
                    <a:pt x="33" y="78"/>
                    <a:pt x="19" y="78"/>
                    <a:pt x="9" y="73"/>
                  </a:cubicBezTo>
                  <a:cubicBezTo>
                    <a:pt x="0" y="67"/>
                    <a:pt x="0" y="59"/>
                    <a:pt x="9" y="5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101" y="0"/>
                    <a:pt x="116" y="0"/>
                    <a:pt x="125" y="6"/>
                  </a:cubicBezTo>
                  <a:cubicBezTo>
                    <a:pt x="134" y="11"/>
                    <a:pt x="134" y="20"/>
                    <a:pt x="125" y="25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任意多边形 51">
              <a:extLst>
                <a:ext uri="{FF2B5EF4-FFF2-40B4-BE49-F238E27FC236}">
                  <a16:creationId xmlns:a16="http://schemas.microsoft.com/office/drawing/2014/main" id="{7CDD5DC2-F97A-44AD-B0E3-8A95C87C0E85}"/>
                </a:ext>
              </a:extLst>
            </p:cNvPr>
            <p:cNvSpPr/>
            <p:nvPr/>
          </p:nvSpPr>
          <p:spPr bwMode="auto">
            <a:xfrm>
              <a:off x="7502526" y="3892551"/>
              <a:ext cx="349250" cy="203200"/>
            </a:xfrm>
            <a:custGeom>
              <a:avLst/>
              <a:gdLst>
                <a:gd name="T0" fmla="*/ 125 w 134"/>
                <a:gd name="T1" fmla="*/ 25 h 78"/>
                <a:gd name="T2" fmla="*/ 42 w 134"/>
                <a:gd name="T3" fmla="*/ 73 h 78"/>
                <a:gd name="T4" fmla="*/ 9 w 134"/>
                <a:gd name="T5" fmla="*/ 73 h 78"/>
                <a:gd name="T6" fmla="*/ 9 w 134"/>
                <a:gd name="T7" fmla="*/ 53 h 78"/>
                <a:gd name="T8" fmla="*/ 92 w 134"/>
                <a:gd name="T9" fmla="*/ 6 h 78"/>
                <a:gd name="T10" fmla="*/ 125 w 134"/>
                <a:gd name="T11" fmla="*/ 6 h 78"/>
                <a:gd name="T12" fmla="*/ 125 w 134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8">
                  <a:moveTo>
                    <a:pt x="125" y="25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33" y="78"/>
                    <a:pt x="18" y="78"/>
                    <a:pt x="9" y="73"/>
                  </a:cubicBezTo>
                  <a:cubicBezTo>
                    <a:pt x="0" y="67"/>
                    <a:pt x="0" y="59"/>
                    <a:pt x="9" y="53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101" y="0"/>
                    <a:pt x="116" y="0"/>
                    <a:pt x="125" y="6"/>
                  </a:cubicBezTo>
                  <a:cubicBezTo>
                    <a:pt x="134" y="11"/>
                    <a:pt x="134" y="20"/>
                    <a:pt x="125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任意多边形 52">
              <a:extLst>
                <a:ext uri="{FF2B5EF4-FFF2-40B4-BE49-F238E27FC236}">
                  <a16:creationId xmlns:a16="http://schemas.microsoft.com/office/drawing/2014/main" id="{C76F1959-C0B4-4E2F-AE02-0282BEB611A8}"/>
                </a:ext>
              </a:extLst>
            </p:cNvPr>
            <p:cNvSpPr/>
            <p:nvPr/>
          </p:nvSpPr>
          <p:spPr bwMode="auto">
            <a:xfrm>
              <a:off x="5307014" y="4192588"/>
              <a:ext cx="871538" cy="503238"/>
            </a:xfrm>
            <a:custGeom>
              <a:avLst/>
              <a:gdLst>
                <a:gd name="T0" fmla="*/ 325 w 334"/>
                <a:gd name="T1" fmla="*/ 24 h 193"/>
                <a:gd name="T2" fmla="*/ 43 w 334"/>
                <a:gd name="T3" fmla="*/ 187 h 193"/>
                <a:gd name="T4" fmla="*/ 10 w 334"/>
                <a:gd name="T5" fmla="*/ 187 h 193"/>
                <a:gd name="T6" fmla="*/ 10 w 334"/>
                <a:gd name="T7" fmla="*/ 168 h 193"/>
                <a:gd name="T8" fmla="*/ 292 w 334"/>
                <a:gd name="T9" fmla="*/ 5 h 193"/>
                <a:gd name="T10" fmla="*/ 325 w 334"/>
                <a:gd name="T11" fmla="*/ 5 h 193"/>
                <a:gd name="T12" fmla="*/ 325 w 334"/>
                <a:gd name="T13" fmla="*/ 24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93">
                  <a:moveTo>
                    <a:pt x="325" y="24"/>
                  </a:moveTo>
                  <a:cubicBezTo>
                    <a:pt x="43" y="187"/>
                    <a:pt x="43" y="187"/>
                    <a:pt x="43" y="187"/>
                  </a:cubicBezTo>
                  <a:cubicBezTo>
                    <a:pt x="34" y="193"/>
                    <a:pt x="19" y="193"/>
                    <a:pt x="10" y="187"/>
                  </a:cubicBezTo>
                  <a:cubicBezTo>
                    <a:pt x="0" y="182"/>
                    <a:pt x="0" y="173"/>
                    <a:pt x="10" y="168"/>
                  </a:cubicBezTo>
                  <a:cubicBezTo>
                    <a:pt x="292" y="5"/>
                    <a:pt x="292" y="5"/>
                    <a:pt x="292" y="5"/>
                  </a:cubicBezTo>
                  <a:cubicBezTo>
                    <a:pt x="301" y="0"/>
                    <a:pt x="316" y="0"/>
                    <a:pt x="325" y="5"/>
                  </a:cubicBezTo>
                  <a:cubicBezTo>
                    <a:pt x="334" y="10"/>
                    <a:pt x="334" y="19"/>
                    <a:pt x="325" y="24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任意多边形 53">
              <a:extLst>
                <a:ext uri="{FF2B5EF4-FFF2-40B4-BE49-F238E27FC236}">
                  <a16:creationId xmlns:a16="http://schemas.microsoft.com/office/drawing/2014/main" id="{C7451B94-F302-4ED7-A3FB-2DBDBF79D1DE}"/>
                </a:ext>
              </a:extLst>
            </p:cNvPr>
            <p:cNvSpPr/>
            <p:nvPr/>
          </p:nvSpPr>
          <p:spPr bwMode="auto">
            <a:xfrm>
              <a:off x="6288089" y="3925888"/>
              <a:ext cx="349250" cy="203200"/>
            </a:xfrm>
            <a:custGeom>
              <a:avLst/>
              <a:gdLst>
                <a:gd name="T0" fmla="*/ 124 w 134"/>
                <a:gd name="T1" fmla="*/ 25 h 78"/>
                <a:gd name="T2" fmla="*/ 42 w 134"/>
                <a:gd name="T3" fmla="*/ 73 h 78"/>
                <a:gd name="T4" fmla="*/ 9 w 134"/>
                <a:gd name="T5" fmla="*/ 73 h 78"/>
                <a:gd name="T6" fmla="*/ 9 w 134"/>
                <a:gd name="T7" fmla="*/ 53 h 78"/>
                <a:gd name="T8" fmla="*/ 91 w 134"/>
                <a:gd name="T9" fmla="*/ 6 h 78"/>
                <a:gd name="T10" fmla="*/ 124 w 134"/>
                <a:gd name="T11" fmla="*/ 6 h 78"/>
                <a:gd name="T12" fmla="*/ 124 w 134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8">
                  <a:moveTo>
                    <a:pt x="124" y="25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33" y="78"/>
                    <a:pt x="18" y="78"/>
                    <a:pt x="9" y="73"/>
                  </a:cubicBezTo>
                  <a:cubicBezTo>
                    <a:pt x="0" y="67"/>
                    <a:pt x="0" y="59"/>
                    <a:pt x="9" y="53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100" y="0"/>
                    <a:pt x="115" y="0"/>
                    <a:pt x="124" y="6"/>
                  </a:cubicBezTo>
                  <a:cubicBezTo>
                    <a:pt x="134" y="11"/>
                    <a:pt x="134" y="20"/>
                    <a:pt x="124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任意多边形 54">
              <a:extLst>
                <a:ext uri="{FF2B5EF4-FFF2-40B4-BE49-F238E27FC236}">
                  <a16:creationId xmlns:a16="http://schemas.microsoft.com/office/drawing/2014/main" id="{7E4BA45F-22F2-4F02-B6F4-8615860B46D2}"/>
                </a:ext>
              </a:extLst>
            </p:cNvPr>
            <p:cNvSpPr/>
            <p:nvPr/>
          </p:nvSpPr>
          <p:spPr bwMode="auto">
            <a:xfrm>
              <a:off x="6488114" y="3227388"/>
              <a:ext cx="868363" cy="503238"/>
            </a:xfrm>
            <a:custGeom>
              <a:avLst/>
              <a:gdLst>
                <a:gd name="T0" fmla="*/ 324 w 333"/>
                <a:gd name="T1" fmla="*/ 25 h 193"/>
                <a:gd name="T2" fmla="*/ 42 w 333"/>
                <a:gd name="T3" fmla="*/ 187 h 193"/>
                <a:gd name="T4" fmla="*/ 9 w 333"/>
                <a:gd name="T5" fmla="*/ 187 h 193"/>
                <a:gd name="T6" fmla="*/ 9 w 333"/>
                <a:gd name="T7" fmla="*/ 168 h 193"/>
                <a:gd name="T8" fmla="*/ 291 w 333"/>
                <a:gd name="T9" fmla="*/ 5 h 193"/>
                <a:gd name="T10" fmla="*/ 324 w 333"/>
                <a:gd name="T11" fmla="*/ 5 h 193"/>
                <a:gd name="T12" fmla="*/ 324 w 333"/>
                <a:gd name="T13" fmla="*/ 2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193">
                  <a:moveTo>
                    <a:pt x="324" y="25"/>
                  </a:moveTo>
                  <a:cubicBezTo>
                    <a:pt x="42" y="187"/>
                    <a:pt x="42" y="187"/>
                    <a:pt x="42" y="187"/>
                  </a:cubicBezTo>
                  <a:cubicBezTo>
                    <a:pt x="33" y="193"/>
                    <a:pt x="18" y="193"/>
                    <a:pt x="9" y="187"/>
                  </a:cubicBezTo>
                  <a:cubicBezTo>
                    <a:pt x="0" y="182"/>
                    <a:pt x="0" y="174"/>
                    <a:pt x="9" y="168"/>
                  </a:cubicBezTo>
                  <a:cubicBezTo>
                    <a:pt x="291" y="5"/>
                    <a:pt x="291" y="5"/>
                    <a:pt x="291" y="5"/>
                  </a:cubicBezTo>
                  <a:cubicBezTo>
                    <a:pt x="300" y="0"/>
                    <a:pt x="315" y="0"/>
                    <a:pt x="324" y="5"/>
                  </a:cubicBezTo>
                  <a:cubicBezTo>
                    <a:pt x="333" y="11"/>
                    <a:pt x="333" y="19"/>
                    <a:pt x="324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任意多边形 55">
              <a:extLst>
                <a:ext uri="{FF2B5EF4-FFF2-40B4-BE49-F238E27FC236}">
                  <a16:creationId xmlns:a16="http://schemas.microsoft.com/office/drawing/2014/main" id="{5B8292BB-0C7D-4BA3-B340-D7A6964D25B3}"/>
                </a:ext>
              </a:extLst>
            </p:cNvPr>
            <p:cNvSpPr/>
            <p:nvPr/>
          </p:nvSpPr>
          <p:spPr bwMode="auto">
            <a:xfrm>
              <a:off x="6910389" y="3427413"/>
              <a:ext cx="868363" cy="503238"/>
            </a:xfrm>
            <a:custGeom>
              <a:avLst/>
              <a:gdLst>
                <a:gd name="T0" fmla="*/ 324 w 333"/>
                <a:gd name="T1" fmla="*/ 25 h 193"/>
                <a:gd name="T2" fmla="*/ 42 w 333"/>
                <a:gd name="T3" fmla="*/ 188 h 193"/>
                <a:gd name="T4" fmla="*/ 9 w 333"/>
                <a:gd name="T5" fmla="*/ 188 h 193"/>
                <a:gd name="T6" fmla="*/ 9 w 333"/>
                <a:gd name="T7" fmla="*/ 188 h 193"/>
                <a:gd name="T8" fmla="*/ 9 w 333"/>
                <a:gd name="T9" fmla="*/ 169 h 193"/>
                <a:gd name="T10" fmla="*/ 291 w 333"/>
                <a:gd name="T11" fmla="*/ 6 h 193"/>
                <a:gd name="T12" fmla="*/ 324 w 333"/>
                <a:gd name="T13" fmla="*/ 6 h 193"/>
                <a:gd name="T14" fmla="*/ 324 w 333"/>
                <a:gd name="T15" fmla="*/ 2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3" h="193">
                  <a:moveTo>
                    <a:pt x="324" y="25"/>
                  </a:moveTo>
                  <a:cubicBezTo>
                    <a:pt x="42" y="188"/>
                    <a:pt x="42" y="188"/>
                    <a:pt x="42" y="188"/>
                  </a:cubicBezTo>
                  <a:cubicBezTo>
                    <a:pt x="33" y="193"/>
                    <a:pt x="18" y="193"/>
                    <a:pt x="9" y="188"/>
                  </a:cubicBezTo>
                  <a:cubicBezTo>
                    <a:pt x="9" y="188"/>
                    <a:pt x="9" y="188"/>
                    <a:pt x="9" y="188"/>
                  </a:cubicBezTo>
                  <a:cubicBezTo>
                    <a:pt x="0" y="183"/>
                    <a:pt x="0" y="174"/>
                    <a:pt x="9" y="169"/>
                  </a:cubicBezTo>
                  <a:cubicBezTo>
                    <a:pt x="291" y="6"/>
                    <a:pt x="291" y="6"/>
                    <a:pt x="291" y="6"/>
                  </a:cubicBezTo>
                  <a:cubicBezTo>
                    <a:pt x="300" y="0"/>
                    <a:pt x="315" y="0"/>
                    <a:pt x="324" y="6"/>
                  </a:cubicBezTo>
                  <a:cubicBezTo>
                    <a:pt x="333" y="11"/>
                    <a:pt x="333" y="20"/>
                    <a:pt x="324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任意多边形 56">
              <a:extLst>
                <a:ext uri="{FF2B5EF4-FFF2-40B4-BE49-F238E27FC236}">
                  <a16:creationId xmlns:a16="http://schemas.microsoft.com/office/drawing/2014/main" id="{26A365C7-7F22-4CB0-B02B-3293E88264E3}"/>
                </a:ext>
              </a:extLst>
            </p:cNvPr>
            <p:cNvSpPr/>
            <p:nvPr/>
          </p:nvSpPr>
          <p:spPr bwMode="auto">
            <a:xfrm>
              <a:off x="7888289" y="3163888"/>
              <a:ext cx="349250" cy="201613"/>
            </a:xfrm>
            <a:custGeom>
              <a:avLst/>
              <a:gdLst>
                <a:gd name="T0" fmla="*/ 125 w 134"/>
                <a:gd name="T1" fmla="*/ 25 h 77"/>
                <a:gd name="T2" fmla="*/ 42 w 134"/>
                <a:gd name="T3" fmla="*/ 72 h 77"/>
                <a:gd name="T4" fmla="*/ 9 w 134"/>
                <a:gd name="T5" fmla="*/ 72 h 77"/>
                <a:gd name="T6" fmla="*/ 9 w 134"/>
                <a:gd name="T7" fmla="*/ 53 h 77"/>
                <a:gd name="T8" fmla="*/ 92 w 134"/>
                <a:gd name="T9" fmla="*/ 5 h 77"/>
                <a:gd name="T10" fmla="*/ 125 w 134"/>
                <a:gd name="T11" fmla="*/ 5 h 77"/>
                <a:gd name="T12" fmla="*/ 125 w 134"/>
                <a:gd name="T13" fmla="*/ 2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7">
                  <a:moveTo>
                    <a:pt x="125" y="25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33" y="77"/>
                    <a:pt x="18" y="77"/>
                    <a:pt x="9" y="72"/>
                  </a:cubicBezTo>
                  <a:cubicBezTo>
                    <a:pt x="0" y="67"/>
                    <a:pt x="0" y="58"/>
                    <a:pt x="9" y="53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101" y="0"/>
                    <a:pt x="116" y="0"/>
                    <a:pt x="125" y="5"/>
                  </a:cubicBezTo>
                  <a:cubicBezTo>
                    <a:pt x="134" y="11"/>
                    <a:pt x="134" y="19"/>
                    <a:pt x="125" y="25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任意多边形 57">
              <a:extLst>
                <a:ext uri="{FF2B5EF4-FFF2-40B4-BE49-F238E27FC236}">
                  <a16:creationId xmlns:a16="http://schemas.microsoft.com/office/drawing/2014/main" id="{98B6D517-17AD-4CBB-94CB-02C62C7F9986}"/>
                </a:ext>
              </a:extLst>
            </p:cNvPr>
            <p:cNvSpPr/>
            <p:nvPr/>
          </p:nvSpPr>
          <p:spPr bwMode="auto">
            <a:xfrm>
              <a:off x="5692776" y="3463926"/>
              <a:ext cx="871538" cy="501650"/>
            </a:xfrm>
            <a:custGeom>
              <a:avLst/>
              <a:gdLst>
                <a:gd name="T0" fmla="*/ 325 w 334"/>
                <a:gd name="T1" fmla="*/ 24 h 192"/>
                <a:gd name="T2" fmla="*/ 43 w 334"/>
                <a:gd name="T3" fmla="*/ 187 h 192"/>
                <a:gd name="T4" fmla="*/ 9 w 334"/>
                <a:gd name="T5" fmla="*/ 187 h 192"/>
                <a:gd name="T6" fmla="*/ 9 w 334"/>
                <a:gd name="T7" fmla="*/ 168 h 192"/>
                <a:gd name="T8" fmla="*/ 291 w 334"/>
                <a:gd name="T9" fmla="*/ 5 h 192"/>
                <a:gd name="T10" fmla="*/ 325 w 334"/>
                <a:gd name="T11" fmla="*/ 5 h 192"/>
                <a:gd name="T12" fmla="*/ 325 w 334"/>
                <a:gd name="T13" fmla="*/ 2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192">
                  <a:moveTo>
                    <a:pt x="325" y="24"/>
                  </a:moveTo>
                  <a:cubicBezTo>
                    <a:pt x="43" y="187"/>
                    <a:pt x="43" y="187"/>
                    <a:pt x="43" y="187"/>
                  </a:cubicBezTo>
                  <a:cubicBezTo>
                    <a:pt x="33" y="192"/>
                    <a:pt x="19" y="192"/>
                    <a:pt x="9" y="187"/>
                  </a:cubicBezTo>
                  <a:cubicBezTo>
                    <a:pt x="0" y="182"/>
                    <a:pt x="0" y="173"/>
                    <a:pt x="9" y="168"/>
                  </a:cubicBezTo>
                  <a:cubicBezTo>
                    <a:pt x="291" y="5"/>
                    <a:pt x="291" y="5"/>
                    <a:pt x="291" y="5"/>
                  </a:cubicBezTo>
                  <a:cubicBezTo>
                    <a:pt x="301" y="0"/>
                    <a:pt x="316" y="0"/>
                    <a:pt x="325" y="5"/>
                  </a:cubicBezTo>
                  <a:cubicBezTo>
                    <a:pt x="334" y="10"/>
                    <a:pt x="334" y="19"/>
                    <a:pt x="325" y="24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任意多边形 58">
              <a:extLst>
                <a:ext uri="{FF2B5EF4-FFF2-40B4-BE49-F238E27FC236}">
                  <a16:creationId xmlns:a16="http://schemas.microsoft.com/office/drawing/2014/main" id="{9DD118C5-4E0D-45B8-A5FA-17A216F02866}"/>
                </a:ext>
              </a:extLst>
            </p:cNvPr>
            <p:cNvSpPr/>
            <p:nvPr/>
          </p:nvSpPr>
          <p:spPr bwMode="auto">
            <a:xfrm>
              <a:off x="6670676" y="3198813"/>
              <a:ext cx="349250" cy="203200"/>
            </a:xfrm>
            <a:custGeom>
              <a:avLst/>
              <a:gdLst>
                <a:gd name="T0" fmla="*/ 125 w 134"/>
                <a:gd name="T1" fmla="*/ 25 h 78"/>
                <a:gd name="T2" fmla="*/ 43 w 134"/>
                <a:gd name="T3" fmla="*/ 72 h 78"/>
                <a:gd name="T4" fmla="*/ 10 w 134"/>
                <a:gd name="T5" fmla="*/ 72 h 78"/>
                <a:gd name="T6" fmla="*/ 10 w 134"/>
                <a:gd name="T7" fmla="*/ 53 h 78"/>
                <a:gd name="T8" fmla="*/ 92 w 134"/>
                <a:gd name="T9" fmla="*/ 5 h 78"/>
                <a:gd name="T10" fmla="*/ 125 w 134"/>
                <a:gd name="T11" fmla="*/ 5 h 78"/>
                <a:gd name="T12" fmla="*/ 125 w 134"/>
                <a:gd name="T13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78">
                  <a:moveTo>
                    <a:pt x="125" y="25"/>
                  </a:moveTo>
                  <a:cubicBezTo>
                    <a:pt x="43" y="72"/>
                    <a:pt x="43" y="72"/>
                    <a:pt x="43" y="72"/>
                  </a:cubicBezTo>
                  <a:cubicBezTo>
                    <a:pt x="34" y="78"/>
                    <a:pt x="19" y="78"/>
                    <a:pt x="10" y="72"/>
                  </a:cubicBezTo>
                  <a:cubicBezTo>
                    <a:pt x="0" y="67"/>
                    <a:pt x="0" y="58"/>
                    <a:pt x="10" y="53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101" y="0"/>
                    <a:pt x="116" y="0"/>
                    <a:pt x="125" y="5"/>
                  </a:cubicBezTo>
                  <a:cubicBezTo>
                    <a:pt x="134" y="11"/>
                    <a:pt x="134" y="19"/>
                    <a:pt x="125" y="25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任意多边形 59">
              <a:extLst>
                <a:ext uri="{FF2B5EF4-FFF2-40B4-BE49-F238E27FC236}">
                  <a16:creationId xmlns:a16="http://schemas.microsoft.com/office/drawing/2014/main" id="{F53CBB01-9725-4DF9-9BD2-A48E17B38052}"/>
                </a:ext>
              </a:extLst>
            </p:cNvPr>
            <p:cNvSpPr/>
            <p:nvPr/>
          </p:nvSpPr>
          <p:spPr bwMode="auto">
            <a:xfrm>
              <a:off x="4170364" y="3527426"/>
              <a:ext cx="187325" cy="109538"/>
            </a:xfrm>
            <a:custGeom>
              <a:avLst/>
              <a:gdLst>
                <a:gd name="T0" fmla="*/ 59 w 72"/>
                <a:gd name="T1" fmla="*/ 8 h 42"/>
                <a:gd name="T2" fmla="*/ 59 w 72"/>
                <a:gd name="T3" fmla="*/ 34 h 42"/>
                <a:gd name="T4" fmla="*/ 13 w 72"/>
                <a:gd name="T5" fmla="*/ 34 h 42"/>
                <a:gd name="T6" fmla="*/ 13 w 72"/>
                <a:gd name="T7" fmla="*/ 8 h 42"/>
                <a:gd name="T8" fmla="*/ 59 w 72"/>
                <a:gd name="T9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42">
                  <a:moveTo>
                    <a:pt x="59" y="8"/>
                  </a:moveTo>
                  <a:cubicBezTo>
                    <a:pt x="72" y="15"/>
                    <a:pt x="72" y="27"/>
                    <a:pt x="59" y="34"/>
                  </a:cubicBezTo>
                  <a:cubicBezTo>
                    <a:pt x="47" y="42"/>
                    <a:pt x="26" y="42"/>
                    <a:pt x="13" y="34"/>
                  </a:cubicBezTo>
                  <a:cubicBezTo>
                    <a:pt x="0" y="27"/>
                    <a:pt x="0" y="15"/>
                    <a:pt x="13" y="8"/>
                  </a:cubicBezTo>
                  <a:cubicBezTo>
                    <a:pt x="26" y="0"/>
                    <a:pt x="47" y="0"/>
                    <a:pt x="59" y="8"/>
                  </a:cubicBezTo>
                  <a:close/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任意多边形 60">
              <a:extLst>
                <a:ext uri="{FF2B5EF4-FFF2-40B4-BE49-F238E27FC236}">
                  <a16:creationId xmlns:a16="http://schemas.microsoft.com/office/drawing/2014/main" id="{86358BDF-D92D-4438-88F2-4747141618F2}"/>
                </a:ext>
              </a:extLst>
            </p:cNvPr>
            <p:cNvSpPr/>
            <p:nvPr/>
          </p:nvSpPr>
          <p:spPr bwMode="auto">
            <a:xfrm>
              <a:off x="5027614" y="3190876"/>
              <a:ext cx="1119188" cy="474663"/>
            </a:xfrm>
            <a:custGeom>
              <a:avLst/>
              <a:gdLst>
                <a:gd name="T0" fmla="*/ 705 w 705"/>
                <a:gd name="T1" fmla="*/ 0 h 299"/>
                <a:gd name="T2" fmla="*/ 705 w 705"/>
                <a:gd name="T3" fmla="*/ 24 h 299"/>
                <a:gd name="T4" fmla="*/ 0 w 705"/>
                <a:gd name="T5" fmla="*/ 299 h 299"/>
                <a:gd name="T6" fmla="*/ 0 w 705"/>
                <a:gd name="T7" fmla="*/ 274 h 299"/>
                <a:gd name="T8" fmla="*/ 705 w 705"/>
                <a:gd name="T9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5" h="299">
                  <a:moveTo>
                    <a:pt x="705" y="0"/>
                  </a:moveTo>
                  <a:lnTo>
                    <a:pt x="705" y="24"/>
                  </a:lnTo>
                  <a:lnTo>
                    <a:pt x="0" y="299"/>
                  </a:lnTo>
                  <a:lnTo>
                    <a:pt x="0" y="274"/>
                  </a:lnTo>
                  <a:lnTo>
                    <a:pt x="705" y="0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任意多边形 61">
              <a:extLst>
                <a:ext uri="{FF2B5EF4-FFF2-40B4-BE49-F238E27FC236}">
                  <a16:creationId xmlns:a16="http://schemas.microsoft.com/office/drawing/2014/main" id="{938088A9-2321-4A68-BAB1-57FE3F6D69F0}"/>
                </a:ext>
              </a:extLst>
            </p:cNvPr>
            <p:cNvSpPr/>
            <p:nvPr/>
          </p:nvSpPr>
          <p:spPr bwMode="auto">
            <a:xfrm>
              <a:off x="5027614" y="3190876"/>
              <a:ext cx="1119188" cy="474663"/>
            </a:xfrm>
            <a:custGeom>
              <a:avLst/>
              <a:gdLst>
                <a:gd name="T0" fmla="*/ 705 w 705"/>
                <a:gd name="T1" fmla="*/ 0 h 299"/>
                <a:gd name="T2" fmla="*/ 705 w 705"/>
                <a:gd name="T3" fmla="*/ 24 h 299"/>
                <a:gd name="T4" fmla="*/ 0 w 705"/>
                <a:gd name="T5" fmla="*/ 299 h 299"/>
                <a:gd name="T6" fmla="*/ 0 w 705"/>
                <a:gd name="T7" fmla="*/ 274 h 299"/>
                <a:gd name="T8" fmla="*/ 705 w 705"/>
                <a:gd name="T9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5" h="299">
                  <a:moveTo>
                    <a:pt x="705" y="0"/>
                  </a:moveTo>
                  <a:lnTo>
                    <a:pt x="705" y="24"/>
                  </a:lnTo>
                  <a:lnTo>
                    <a:pt x="0" y="299"/>
                  </a:lnTo>
                  <a:lnTo>
                    <a:pt x="0" y="274"/>
                  </a:lnTo>
                  <a:lnTo>
                    <a:pt x="7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任意多边形 62">
              <a:extLst>
                <a:ext uri="{FF2B5EF4-FFF2-40B4-BE49-F238E27FC236}">
                  <a16:creationId xmlns:a16="http://schemas.microsoft.com/office/drawing/2014/main" id="{6A1B0AC5-2F3F-4A7F-BB4B-CB78590878B6}"/>
                </a:ext>
              </a:extLst>
            </p:cNvPr>
            <p:cNvSpPr/>
            <p:nvPr/>
          </p:nvSpPr>
          <p:spPr bwMode="auto">
            <a:xfrm>
              <a:off x="5403851" y="2973388"/>
              <a:ext cx="750888" cy="331788"/>
            </a:xfrm>
            <a:custGeom>
              <a:avLst/>
              <a:gdLst>
                <a:gd name="T0" fmla="*/ 285 w 288"/>
                <a:gd name="T1" fmla="*/ 0 h 127"/>
                <a:gd name="T2" fmla="*/ 285 w 288"/>
                <a:gd name="T3" fmla="*/ 16 h 127"/>
                <a:gd name="T4" fmla="*/ 274 w 288"/>
                <a:gd name="T5" fmla="*/ 20 h 127"/>
                <a:gd name="T6" fmla="*/ 0 w 288"/>
                <a:gd name="T7" fmla="*/ 127 h 127"/>
                <a:gd name="T8" fmla="*/ 81 w 288"/>
                <a:gd name="T9" fmla="*/ 80 h 127"/>
                <a:gd name="T10" fmla="*/ 285 w 288"/>
                <a:gd name="T1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8" h="127">
                  <a:moveTo>
                    <a:pt x="285" y="0"/>
                  </a:moveTo>
                  <a:cubicBezTo>
                    <a:pt x="285" y="16"/>
                    <a:pt x="285" y="16"/>
                    <a:pt x="285" y="16"/>
                  </a:cubicBezTo>
                  <a:cubicBezTo>
                    <a:pt x="269" y="22"/>
                    <a:pt x="271" y="21"/>
                    <a:pt x="274" y="20"/>
                  </a:cubicBezTo>
                  <a:cubicBezTo>
                    <a:pt x="281" y="17"/>
                    <a:pt x="288" y="14"/>
                    <a:pt x="0" y="127"/>
                  </a:cubicBezTo>
                  <a:cubicBezTo>
                    <a:pt x="81" y="80"/>
                    <a:pt x="81" y="80"/>
                    <a:pt x="81" y="80"/>
                  </a:cubicBezTo>
                  <a:cubicBezTo>
                    <a:pt x="285" y="0"/>
                    <a:pt x="285" y="0"/>
                    <a:pt x="285" y="0"/>
                  </a:cubicBezTo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任意多边形 63">
              <a:extLst>
                <a:ext uri="{FF2B5EF4-FFF2-40B4-BE49-F238E27FC236}">
                  <a16:creationId xmlns:a16="http://schemas.microsoft.com/office/drawing/2014/main" id="{640BCE90-AFEC-40AB-BACF-FD540C1ECADF}"/>
                </a:ext>
              </a:extLst>
            </p:cNvPr>
            <p:cNvSpPr/>
            <p:nvPr/>
          </p:nvSpPr>
          <p:spPr bwMode="auto">
            <a:xfrm>
              <a:off x="5614989" y="2914651"/>
              <a:ext cx="531813" cy="268288"/>
            </a:xfrm>
            <a:custGeom>
              <a:avLst/>
              <a:gdLst>
                <a:gd name="T0" fmla="*/ 335 w 335"/>
                <a:gd name="T1" fmla="*/ 37 h 169"/>
                <a:gd name="T2" fmla="*/ 0 w 335"/>
                <a:gd name="T3" fmla="*/ 169 h 169"/>
                <a:gd name="T4" fmla="*/ 292 w 335"/>
                <a:gd name="T5" fmla="*/ 0 h 169"/>
                <a:gd name="T6" fmla="*/ 335 w 335"/>
                <a:gd name="T7" fmla="*/ 3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5" h="169">
                  <a:moveTo>
                    <a:pt x="335" y="37"/>
                  </a:moveTo>
                  <a:lnTo>
                    <a:pt x="0" y="169"/>
                  </a:lnTo>
                  <a:lnTo>
                    <a:pt x="292" y="0"/>
                  </a:lnTo>
                  <a:lnTo>
                    <a:pt x="335" y="37"/>
                  </a:lnTo>
                  <a:close/>
                </a:path>
              </a:pathLst>
            </a:custGeom>
            <a:solidFill>
              <a:srgbClr val="A26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任意多边形 64">
              <a:extLst>
                <a:ext uri="{FF2B5EF4-FFF2-40B4-BE49-F238E27FC236}">
                  <a16:creationId xmlns:a16="http://schemas.microsoft.com/office/drawing/2014/main" id="{26E13465-C732-4360-9DA5-5BC1BDAFE957}"/>
                </a:ext>
              </a:extLst>
            </p:cNvPr>
            <p:cNvSpPr/>
            <p:nvPr/>
          </p:nvSpPr>
          <p:spPr bwMode="auto">
            <a:xfrm>
              <a:off x="5614989" y="2914651"/>
              <a:ext cx="531813" cy="268288"/>
            </a:xfrm>
            <a:custGeom>
              <a:avLst/>
              <a:gdLst>
                <a:gd name="T0" fmla="*/ 335 w 335"/>
                <a:gd name="T1" fmla="*/ 37 h 169"/>
                <a:gd name="T2" fmla="*/ 0 w 335"/>
                <a:gd name="T3" fmla="*/ 169 h 169"/>
                <a:gd name="T4" fmla="*/ 292 w 335"/>
                <a:gd name="T5" fmla="*/ 0 h 169"/>
                <a:gd name="T6" fmla="*/ 335 w 335"/>
                <a:gd name="T7" fmla="*/ 3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5" h="169">
                  <a:moveTo>
                    <a:pt x="335" y="37"/>
                  </a:moveTo>
                  <a:lnTo>
                    <a:pt x="0" y="169"/>
                  </a:lnTo>
                  <a:lnTo>
                    <a:pt x="292" y="0"/>
                  </a:lnTo>
                  <a:lnTo>
                    <a:pt x="335" y="3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任意多边形 65">
              <a:extLst>
                <a:ext uri="{FF2B5EF4-FFF2-40B4-BE49-F238E27FC236}">
                  <a16:creationId xmlns:a16="http://schemas.microsoft.com/office/drawing/2014/main" id="{1ADB8F50-77A8-4F7F-88DF-B18AD8C93988}"/>
                </a:ext>
              </a:extLst>
            </p:cNvPr>
            <p:cNvSpPr/>
            <p:nvPr/>
          </p:nvSpPr>
          <p:spPr bwMode="auto">
            <a:xfrm>
              <a:off x="5187951" y="2838451"/>
              <a:ext cx="950913" cy="592138"/>
            </a:xfrm>
            <a:custGeom>
              <a:avLst/>
              <a:gdLst>
                <a:gd name="T0" fmla="*/ 0 w 365"/>
                <a:gd name="T1" fmla="*/ 227 h 227"/>
                <a:gd name="T2" fmla="*/ 0 w 365"/>
                <a:gd name="T3" fmla="*/ 212 h 227"/>
                <a:gd name="T4" fmla="*/ 365 w 365"/>
                <a:gd name="T5" fmla="*/ 0 h 227"/>
                <a:gd name="T6" fmla="*/ 365 w 365"/>
                <a:gd name="T7" fmla="*/ 16 h 227"/>
                <a:gd name="T8" fmla="*/ 0 w 365"/>
                <a:gd name="T9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5" h="227">
                  <a:moveTo>
                    <a:pt x="0" y="227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365" y="0"/>
                    <a:pt x="365" y="0"/>
                    <a:pt x="365" y="0"/>
                  </a:cubicBezTo>
                  <a:cubicBezTo>
                    <a:pt x="365" y="16"/>
                    <a:pt x="365" y="16"/>
                    <a:pt x="365" y="16"/>
                  </a:cubicBezTo>
                  <a:cubicBezTo>
                    <a:pt x="286" y="61"/>
                    <a:pt x="164" y="132"/>
                    <a:pt x="0" y="227"/>
                  </a:cubicBezTo>
                </a:path>
              </a:pathLst>
            </a:custGeom>
            <a:solidFill>
              <a:srgbClr val="6899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任意多边形 66">
              <a:extLst>
                <a:ext uri="{FF2B5EF4-FFF2-40B4-BE49-F238E27FC236}">
                  <a16:creationId xmlns:a16="http://schemas.microsoft.com/office/drawing/2014/main" id="{5FFA8E78-C904-4B21-8E7F-5D00425AA584}"/>
                </a:ext>
              </a:extLst>
            </p:cNvPr>
            <p:cNvSpPr/>
            <p:nvPr/>
          </p:nvSpPr>
          <p:spPr bwMode="auto">
            <a:xfrm>
              <a:off x="5046664" y="3033713"/>
              <a:ext cx="1047750" cy="563563"/>
            </a:xfrm>
            <a:custGeom>
              <a:avLst/>
              <a:gdLst>
                <a:gd name="T0" fmla="*/ 402 w 402"/>
                <a:gd name="T1" fmla="*/ 60 h 216"/>
                <a:gd name="T2" fmla="*/ 0 w 402"/>
                <a:gd name="T3" fmla="*/ 216 h 216"/>
                <a:gd name="T4" fmla="*/ 0 w 402"/>
                <a:gd name="T5" fmla="*/ 157 h 216"/>
                <a:gd name="T6" fmla="*/ 37 w 402"/>
                <a:gd name="T7" fmla="*/ 142 h 216"/>
                <a:gd name="T8" fmla="*/ 37 w 402"/>
                <a:gd name="T9" fmla="*/ 142 h 216"/>
                <a:gd name="T10" fmla="*/ 54 w 402"/>
                <a:gd name="T11" fmla="*/ 152 h 216"/>
                <a:gd name="T12" fmla="*/ 137 w 402"/>
                <a:gd name="T13" fmla="*/ 104 h 216"/>
                <a:gd name="T14" fmla="*/ 402 w 402"/>
                <a:gd name="T15" fmla="*/ 0 h 216"/>
                <a:gd name="T16" fmla="*/ 402 w 402"/>
                <a:gd name="T17" fmla="*/ 6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2" h="216">
                  <a:moveTo>
                    <a:pt x="402" y="60"/>
                  </a:moveTo>
                  <a:cubicBezTo>
                    <a:pt x="0" y="216"/>
                    <a:pt x="0" y="216"/>
                    <a:pt x="0" y="216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37" y="142"/>
                    <a:pt x="37" y="142"/>
                    <a:pt x="37" y="142"/>
                  </a:cubicBezTo>
                  <a:cubicBezTo>
                    <a:pt x="37" y="142"/>
                    <a:pt x="37" y="142"/>
                    <a:pt x="37" y="142"/>
                  </a:cubicBezTo>
                  <a:cubicBezTo>
                    <a:pt x="54" y="152"/>
                    <a:pt x="54" y="152"/>
                    <a:pt x="54" y="152"/>
                  </a:cubicBezTo>
                  <a:cubicBezTo>
                    <a:pt x="137" y="104"/>
                    <a:pt x="137" y="104"/>
                    <a:pt x="137" y="104"/>
                  </a:cubicBezTo>
                  <a:cubicBezTo>
                    <a:pt x="402" y="0"/>
                    <a:pt x="402" y="0"/>
                    <a:pt x="402" y="0"/>
                  </a:cubicBezTo>
                  <a:cubicBezTo>
                    <a:pt x="402" y="14"/>
                    <a:pt x="402" y="46"/>
                    <a:pt x="402" y="60"/>
                  </a:cubicBezTo>
                </a:path>
              </a:pathLst>
            </a:custGeom>
            <a:solidFill>
              <a:srgbClr val="A5B3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任意多边形 67">
              <a:extLst>
                <a:ext uri="{FF2B5EF4-FFF2-40B4-BE49-F238E27FC236}">
                  <a16:creationId xmlns:a16="http://schemas.microsoft.com/office/drawing/2014/main" id="{5F92B2EF-F881-4A2E-A7FB-03AFD4EC01DF}"/>
                </a:ext>
              </a:extLst>
            </p:cNvPr>
            <p:cNvSpPr/>
            <p:nvPr/>
          </p:nvSpPr>
          <p:spPr bwMode="auto">
            <a:xfrm>
              <a:off x="5194301" y="2692401"/>
              <a:ext cx="895350" cy="666750"/>
            </a:xfrm>
            <a:custGeom>
              <a:avLst/>
              <a:gdLst>
                <a:gd name="T0" fmla="*/ 343 w 343"/>
                <a:gd name="T1" fmla="*/ 58 h 256"/>
                <a:gd name="T2" fmla="*/ 0 w 343"/>
                <a:gd name="T3" fmla="*/ 256 h 256"/>
                <a:gd name="T4" fmla="*/ 0 w 343"/>
                <a:gd name="T5" fmla="*/ 198 h 256"/>
                <a:gd name="T6" fmla="*/ 343 w 343"/>
                <a:gd name="T7" fmla="*/ 0 h 256"/>
                <a:gd name="T8" fmla="*/ 343 w 343"/>
                <a:gd name="T9" fmla="*/ 5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3" h="256">
                  <a:moveTo>
                    <a:pt x="343" y="58"/>
                  </a:moveTo>
                  <a:cubicBezTo>
                    <a:pt x="0" y="256"/>
                    <a:pt x="0" y="256"/>
                    <a:pt x="0" y="256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343" y="22"/>
                    <a:pt x="343" y="37"/>
                    <a:pt x="343" y="58"/>
                  </a:cubicBezTo>
                </a:path>
              </a:pathLst>
            </a:custGeom>
            <a:solidFill>
              <a:srgbClr val="A5B3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任意多边形 68">
              <a:extLst>
                <a:ext uri="{FF2B5EF4-FFF2-40B4-BE49-F238E27FC236}">
                  <a16:creationId xmlns:a16="http://schemas.microsoft.com/office/drawing/2014/main" id="{C76168FD-470F-43CD-A3D6-3220B06FF9A8}"/>
                </a:ext>
              </a:extLst>
            </p:cNvPr>
            <p:cNvSpPr/>
            <p:nvPr/>
          </p:nvSpPr>
          <p:spPr bwMode="auto">
            <a:xfrm>
              <a:off x="5187951" y="2624138"/>
              <a:ext cx="950913" cy="588963"/>
            </a:xfrm>
            <a:custGeom>
              <a:avLst/>
              <a:gdLst>
                <a:gd name="T0" fmla="*/ 0 w 365"/>
                <a:gd name="T1" fmla="*/ 226 h 226"/>
                <a:gd name="T2" fmla="*/ 0 w 365"/>
                <a:gd name="T3" fmla="*/ 211 h 226"/>
                <a:gd name="T4" fmla="*/ 365 w 365"/>
                <a:gd name="T5" fmla="*/ 0 h 226"/>
                <a:gd name="T6" fmla="*/ 365 w 365"/>
                <a:gd name="T7" fmla="*/ 15 h 226"/>
                <a:gd name="T8" fmla="*/ 0 w 365"/>
                <a:gd name="T9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5" h="226">
                  <a:moveTo>
                    <a:pt x="0" y="226"/>
                  </a:moveTo>
                  <a:cubicBezTo>
                    <a:pt x="0" y="211"/>
                    <a:pt x="0" y="211"/>
                    <a:pt x="0" y="211"/>
                  </a:cubicBezTo>
                  <a:cubicBezTo>
                    <a:pt x="365" y="0"/>
                    <a:pt x="365" y="0"/>
                    <a:pt x="365" y="0"/>
                  </a:cubicBezTo>
                  <a:cubicBezTo>
                    <a:pt x="365" y="15"/>
                    <a:pt x="365" y="15"/>
                    <a:pt x="365" y="15"/>
                  </a:cubicBezTo>
                  <a:cubicBezTo>
                    <a:pt x="338" y="31"/>
                    <a:pt x="5" y="223"/>
                    <a:pt x="0" y="226"/>
                  </a:cubicBezTo>
                </a:path>
              </a:pathLst>
            </a:custGeom>
            <a:solidFill>
              <a:srgbClr val="6899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任意多边形 69">
              <a:extLst>
                <a:ext uri="{FF2B5EF4-FFF2-40B4-BE49-F238E27FC236}">
                  <a16:creationId xmlns:a16="http://schemas.microsoft.com/office/drawing/2014/main" id="{31B24F75-6AA3-446F-80E8-F877943AA45F}"/>
                </a:ext>
              </a:extLst>
            </p:cNvPr>
            <p:cNvSpPr/>
            <p:nvPr/>
          </p:nvSpPr>
          <p:spPr bwMode="auto">
            <a:xfrm>
              <a:off x="5027614" y="3381376"/>
              <a:ext cx="115888" cy="69850"/>
            </a:xfrm>
            <a:custGeom>
              <a:avLst/>
              <a:gdLst>
                <a:gd name="T0" fmla="*/ 44 w 44"/>
                <a:gd name="T1" fmla="*/ 9 h 27"/>
                <a:gd name="T2" fmla="*/ 44 w 44"/>
                <a:gd name="T3" fmla="*/ 9 h 27"/>
                <a:gd name="T4" fmla="*/ 0 w 44"/>
                <a:gd name="T5" fmla="*/ 27 h 27"/>
                <a:gd name="T6" fmla="*/ 0 w 44"/>
                <a:gd name="T7" fmla="*/ 11 h 27"/>
                <a:gd name="T8" fmla="*/ 29 w 44"/>
                <a:gd name="T9" fmla="*/ 0 h 27"/>
                <a:gd name="T10" fmla="*/ 44 w 44"/>
                <a:gd name="T11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27">
                  <a:moveTo>
                    <a:pt x="44" y="9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1" y="26"/>
                    <a:pt x="10" y="23"/>
                    <a:pt x="0" y="2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4" y="9"/>
                    <a:pt x="44" y="9"/>
                    <a:pt x="44" y="9"/>
                  </a:cubicBezTo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任意多边形 70">
              <a:extLst>
                <a:ext uri="{FF2B5EF4-FFF2-40B4-BE49-F238E27FC236}">
                  <a16:creationId xmlns:a16="http://schemas.microsoft.com/office/drawing/2014/main" id="{6B058234-3394-4ECC-889D-F84C6C1DD3AF}"/>
                </a:ext>
              </a:extLst>
            </p:cNvPr>
            <p:cNvSpPr/>
            <p:nvPr/>
          </p:nvSpPr>
          <p:spPr bwMode="auto">
            <a:xfrm>
              <a:off x="4772026" y="3190876"/>
              <a:ext cx="331788" cy="219075"/>
            </a:xfrm>
            <a:custGeom>
              <a:avLst/>
              <a:gdLst>
                <a:gd name="T0" fmla="*/ 209 w 209"/>
                <a:gd name="T1" fmla="*/ 120 h 138"/>
                <a:gd name="T2" fmla="*/ 161 w 209"/>
                <a:gd name="T3" fmla="*/ 138 h 138"/>
                <a:gd name="T4" fmla="*/ 0 w 209"/>
                <a:gd name="T5" fmla="*/ 0 h 138"/>
                <a:gd name="T6" fmla="*/ 209 w 209"/>
                <a:gd name="T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9" h="138">
                  <a:moveTo>
                    <a:pt x="209" y="120"/>
                  </a:moveTo>
                  <a:lnTo>
                    <a:pt x="161" y="138"/>
                  </a:lnTo>
                  <a:lnTo>
                    <a:pt x="0" y="0"/>
                  </a:lnTo>
                  <a:lnTo>
                    <a:pt x="209" y="120"/>
                  </a:lnTo>
                  <a:close/>
                </a:path>
              </a:pathLst>
            </a:custGeom>
            <a:solidFill>
              <a:srgbClr val="A26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任意多边形 71">
              <a:extLst>
                <a:ext uri="{FF2B5EF4-FFF2-40B4-BE49-F238E27FC236}">
                  <a16:creationId xmlns:a16="http://schemas.microsoft.com/office/drawing/2014/main" id="{BC45CF41-D1E2-496A-9521-520F74AECA3B}"/>
                </a:ext>
              </a:extLst>
            </p:cNvPr>
            <p:cNvSpPr/>
            <p:nvPr/>
          </p:nvSpPr>
          <p:spPr bwMode="auto">
            <a:xfrm>
              <a:off x="4772026" y="3190876"/>
              <a:ext cx="331788" cy="219075"/>
            </a:xfrm>
            <a:custGeom>
              <a:avLst/>
              <a:gdLst>
                <a:gd name="T0" fmla="*/ 209 w 209"/>
                <a:gd name="T1" fmla="*/ 120 h 138"/>
                <a:gd name="T2" fmla="*/ 161 w 209"/>
                <a:gd name="T3" fmla="*/ 138 h 138"/>
                <a:gd name="T4" fmla="*/ 0 w 209"/>
                <a:gd name="T5" fmla="*/ 0 h 138"/>
                <a:gd name="T6" fmla="*/ 209 w 209"/>
                <a:gd name="T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9" h="138">
                  <a:moveTo>
                    <a:pt x="209" y="120"/>
                  </a:moveTo>
                  <a:lnTo>
                    <a:pt x="161" y="138"/>
                  </a:lnTo>
                  <a:lnTo>
                    <a:pt x="0" y="0"/>
                  </a:lnTo>
                  <a:lnTo>
                    <a:pt x="209" y="1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任意多边形 72">
              <a:extLst>
                <a:ext uri="{FF2B5EF4-FFF2-40B4-BE49-F238E27FC236}">
                  <a16:creationId xmlns:a16="http://schemas.microsoft.com/office/drawing/2014/main" id="{0745CF85-6ADF-48A8-981B-269866AA2ABE}"/>
                </a:ext>
              </a:extLst>
            </p:cNvPr>
            <p:cNvSpPr/>
            <p:nvPr/>
          </p:nvSpPr>
          <p:spPr bwMode="auto">
            <a:xfrm>
              <a:off x="4816476" y="3146426"/>
              <a:ext cx="1330325" cy="479425"/>
            </a:xfrm>
            <a:custGeom>
              <a:avLst/>
              <a:gdLst>
                <a:gd name="T0" fmla="*/ 88 w 510"/>
                <a:gd name="T1" fmla="*/ 173 h 184"/>
                <a:gd name="T2" fmla="*/ 490 w 510"/>
                <a:gd name="T3" fmla="*/ 17 h 184"/>
                <a:gd name="T4" fmla="*/ 490 w 510"/>
                <a:gd name="T5" fmla="*/ 0 h 184"/>
                <a:gd name="T6" fmla="*/ 510 w 510"/>
                <a:gd name="T7" fmla="*/ 17 h 184"/>
                <a:gd name="T8" fmla="*/ 81 w 510"/>
                <a:gd name="T9" fmla="*/ 184 h 184"/>
                <a:gd name="T10" fmla="*/ 0 w 510"/>
                <a:gd name="T11" fmla="*/ 114 h 184"/>
                <a:gd name="T12" fmla="*/ 6 w 510"/>
                <a:gd name="T13" fmla="*/ 103 h 184"/>
                <a:gd name="T14" fmla="*/ 88 w 510"/>
                <a:gd name="T15" fmla="*/ 17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0" h="184">
                  <a:moveTo>
                    <a:pt x="88" y="173"/>
                  </a:moveTo>
                  <a:cubicBezTo>
                    <a:pt x="490" y="17"/>
                    <a:pt x="490" y="17"/>
                    <a:pt x="490" y="17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510" y="17"/>
                    <a:pt x="510" y="17"/>
                    <a:pt x="510" y="17"/>
                  </a:cubicBezTo>
                  <a:cubicBezTo>
                    <a:pt x="81" y="184"/>
                    <a:pt x="81" y="184"/>
                    <a:pt x="81" y="18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1" y="110"/>
                    <a:pt x="3" y="106"/>
                    <a:pt x="6" y="103"/>
                  </a:cubicBezTo>
                  <a:cubicBezTo>
                    <a:pt x="88" y="173"/>
                    <a:pt x="88" y="173"/>
                    <a:pt x="88" y="173"/>
                  </a:cubicBezTo>
                </a:path>
              </a:pathLst>
            </a:custGeom>
            <a:solidFill>
              <a:srgbClr val="A26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任意多边形 73">
              <a:extLst>
                <a:ext uri="{FF2B5EF4-FFF2-40B4-BE49-F238E27FC236}">
                  <a16:creationId xmlns:a16="http://schemas.microsoft.com/office/drawing/2014/main" id="{792A77B3-DD0A-4D5B-ADDC-00A88B3E344B}"/>
                </a:ext>
              </a:extLst>
            </p:cNvPr>
            <p:cNvSpPr/>
            <p:nvPr/>
          </p:nvSpPr>
          <p:spPr bwMode="auto">
            <a:xfrm>
              <a:off x="4508501" y="3038476"/>
              <a:ext cx="538163" cy="558800"/>
            </a:xfrm>
            <a:custGeom>
              <a:avLst/>
              <a:gdLst>
                <a:gd name="T0" fmla="*/ 206 w 206"/>
                <a:gd name="T1" fmla="*/ 155 h 214"/>
                <a:gd name="T2" fmla="*/ 206 w 206"/>
                <a:gd name="T3" fmla="*/ 214 h 214"/>
                <a:gd name="T4" fmla="*/ 124 w 206"/>
                <a:gd name="T5" fmla="*/ 144 h 214"/>
                <a:gd name="T6" fmla="*/ 139 w 206"/>
                <a:gd name="T7" fmla="*/ 134 h 214"/>
                <a:gd name="T8" fmla="*/ 139 w 206"/>
                <a:gd name="T9" fmla="*/ 132 h 214"/>
                <a:gd name="T10" fmla="*/ 100 w 206"/>
                <a:gd name="T11" fmla="*/ 99 h 214"/>
                <a:gd name="T12" fmla="*/ 84 w 206"/>
                <a:gd name="T13" fmla="*/ 110 h 214"/>
                <a:gd name="T14" fmla="*/ 11 w 206"/>
                <a:gd name="T15" fmla="*/ 47 h 214"/>
                <a:gd name="T16" fmla="*/ 0 w 206"/>
                <a:gd name="T17" fmla="*/ 21 h 214"/>
                <a:gd name="T18" fmla="*/ 0 w 206"/>
                <a:gd name="T19" fmla="*/ 0 h 214"/>
                <a:gd name="T20" fmla="*/ 46 w 206"/>
                <a:gd name="T21" fmla="*/ 27 h 214"/>
                <a:gd name="T22" fmla="*/ 199 w 206"/>
                <a:gd name="T23" fmla="*/ 158 h 214"/>
                <a:gd name="T24" fmla="*/ 206 w 206"/>
                <a:gd name="T25" fmla="*/ 155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6" h="214">
                  <a:moveTo>
                    <a:pt x="206" y="155"/>
                  </a:moveTo>
                  <a:cubicBezTo>
                    <a:pt x="206" y="214"/>
                    <a:pt x="206" y="214"/>
                    <a:pt x="206" y="214"/>
                  </a:cubicBezTo>
                  <a:cubicBezTo>
                    <a:pt x="124" y="144"/>
                    <a:pt x="124" y="144"/>
                    <a:pt x="124" y="144"/>
                  </a:cubicBezTo>
                  <a:cubicBezTo>
                    <a:pt x="128" y="140"/>
                    <a:pt x="133" y="137"/>
                    <a:pt x="139" y="134"/>
                  </a:cubicBezTo>
                  <a:cubicBezTo>
                    <a:pt x="139" y="133"/>
                    <a:pt x="139" y="133"/>
                    <a:pt x="139" y="132"/>
                  </a:cubicBezTo>
                  <a:cubicBezTo>
                    <a:pt x="126" y="121"/>
                    <a:pt x="113" y="110"/>
                    <a:pt x="100" y="99"/>
                  </a:cubicBezTo>
                  <a:cubicBezTo>
                    <a:pt x="94" y="102"/>
                    <a:pt x="88" y="105"/>
                    <a:pt x="84" y="110"/>
                  </a:cubicBezTo>
                  <a:cubicBezTo>
                    <a:pt x="84" y="109"/>
                    <a:pt x="85" y="110"/>
                    <a:pt x="11" y="47"/>
                  </a:cubicBezTo>
                  <a:cubicBezTo>
                    <a:pt x="5" y="41"/>
                    <a:pt x="0" y="30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199" y="158"/>
                    <a:pt x="199" y="158"/>
                    <a:pt x="199" y="158"/>
                  </a:cubicBezTo>
                  <a:cubicBezTo>
                    <a:pt x="206" y="155"/>
                    <a:pt x="206" y="155"/>
                    <a:pt x="206" y="155"/>
                  </a:cubicBezTo>
                </a:path>
              </a:pathLst>
            </a:custGeom>
            <a:solidFill>
              <a:srgbClr val="DFE3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任意多边形 74">
              <a:extLst>
                <a:ext uri="{FF2B5EF4-FFF2-40B4-BE49-F238E27FC236}">
                  <a16:creationId xmlns:a16="http://schemas.microsoft.com/office/drawing/2014/main" id="{F73020EA-22DA-4429-BEAF-DFD91BEA9172}"/>
                </a:ext>
              </a:extLst>
            </p:cNvPr>
            <p:cNvSpPr/>
            <p:nvPr/>
          </p:nvSpPr>
          <p:spPr bwMode="auto">
            <a:xfrm>
              <a:off x="4808539" y="3443288"/>
              <a:ext cx="219075" cy="222250"/>
            </a:xfrm>
            <a:custGeom>
              <a:avLst/>
              <a:gdLst>
                <a:gd name="T0" fmla="*/ 84 w 84"/>
                <a:gd name="T1" fmla="*/ 70 h 85"/>
                <a:gd name="T2" fmla="*/ 84 w 84"/>
                <a:gd name="T3" fmla="*/ 85 h 85"/>
                <a:gd name="T4" fmla="*/ 1 w 84"/>
                <a:gd name="T5" fmla="*/ 14 h 85"/>
                <a:gd name="T6" fmla="*/ 3 w 84"/>
                <a:gd name="T7" fmla="*/ 0 h 85"/>
                <a:gd name="T8" fmla="*/ 84 w 84"/>
                <a:gd name="T9" fmla="*/ 7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85">
                  <a:moveTo>
                    <a:pt x="84" y="70"/>
                  </a:moveTo>
                  <a:cubicBezTo>
                    <a:pt x="84" y="85"/>
                    <a:pt x="84" y="85"/>
                    <a:pt x="84" y="8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9"/>
                    <a:pt x="1" y="4"/>
                    <a:pt x="3" y="0"/>
                  </a:cubicBezTo>
                  <a:cubicBezTo>
                    <a:pt x="84" y="70"/>
                    <a:pt x="84" y="70"/>
                    <a:pt x="84" y="70"/>
                  </a:cubicBezTo>
                </a:path>
              </a:pathLst>
            </a:custGeom>
            <a:solidFill>
              <a:srgbClr val="C48B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任意多边形 75">
              <a:extLst>
                <a:ext uri="{FF2B5EF4-FFF2-40B4-BE49-F238E27FC236}">
                  <a16:creationId xmlns:a16="http://schemas.microsoft.com/office/drawing/2014/main" id="{0BB54E9E-B08E-4A90-ACB8-4B23D56F4C74}"/>
                </a:ext>
              </a:extLst>
            </p:cNvPr>
            <p:cNvSpPr/>
            <p:nvPr/>
          </p:nvSpPr>
          <p:spPr bwMode="auto">
            <a:xfrm>
              <a:off x="4629151" y="3109913"/>
              <a:ext cx="398463" cy="341313"/>
            </a:xfrm>
            <a:custGeom>
              <a:avLst/>
              <a:gdLst>
                <a:gd name="T0" fmla="*/ 153 w 153"/>
                <a:gd name="T1" fmla="*/ 115 h 131"/>
                <a:gd name="T2" fmla="*/ 153 w 153"/>
                <a:gd name="T3" fmla="*/ 131 h 131"/>
                <a:gd name="T4" fmla="*/ 0 w 153"/>
                <a:gd name="T5" fmla="*/ 0 h 131"/>
                <a:gd name="T6" fmla="*/ 55 w 153"/>
                <a:gd name="T7" fmla="*/ 31 h 131"/>
                <a:gd name="T8" fmla="*/ 153 w 153"/>
                <a:gd name="T9" fmla="*/ 11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31">
                  <a:moveTo>
                    <a:pt x="153" y="115"/>
                  </a:moveTo>
                  <a:cubicBezTo>
                    <a:pt x="153" y="131"/>
                    <a:pt x="153" y="131"/>
                    <a:pt x="153" y="13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2" y="29"/>
                    <a:pt x="153" y="115"/>
                  </a:cubicBezTo>
                </a:path>
              </a:pathLst>
            </a:custGeom>
            <a:solidFill>
              <a:srgbClr val="C48B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任意多边形 76">
              <a:extLst>
                <a:ext uri="{FF2B5EF4-FFF2-40B4-BE49-F238E27FC236}">
                  <a16:creationId xmlns:a16="http://schemas.microsoft.com/office/drawing/2014/main" id="{A79D1ED4-D2B0-42F9-A9C2-D9BE4F2BD87E}"/>
                </a:ext>
              </a:extLst>
            </p:cNvPr>
            <p:cNvSpPr/>
            <p:nvPr/>
          </p:nvSpPr>
          <p:spPr bwMode="auto">
            <a:xfrm>
              <a:off x="4691064" y="3297238"/>
              <a:ext cx="180975" cy="215900"/>
            </a:xfrm>
            <a:custGeom>
              <a:avLst/>
              <a:gdLst>
                <a:gd name="T0" fmla="*/ 69 w 69"/>
                <a:gd name="T1" fmla="*/ 33 h 83"/>
                <a:gd name="T2" fmla="*/ 47 w 69"/>
                <a:gd name="T3" fmla="*/ 83 h 83"/>
                <a:gd name="T4" fmla="*/ 8 w 69"/>
                <a:gd name="T5" fmla="*/ 50 h 83"/>
                <a:gd name="T6" fmla="*/ 30 w 69"/>
                <a:gd name="T7" fmla="*/ 0 h 83"/>
                <a:gd name="T8" fmla="*/ 69 w 69"/>
                <a:gd name="T9" fmla="*/ 3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83">
                  <a:moveTo>
                    <a:pt x="69" y="33"/>
                  </a:moveTo>
                  <a:cubicBezTo>
                    <a:pt x="47" y="43"/>
                    <a:pt x="39" y="60"/>
                    <a:pt x="47" y="83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0" y="27"/>
                    <a:pt x="8" y="10"/>
                    <a:pt x="30" y="0"/>
                  </a:cubicBezTo>
                  <a:cubicBezTo>
                    <a:pt x="43" y="11"/>
                    <a:pt x="56" y="22"/>
                    <a:pt x="69" y="33"/>
                  </a:cubicBezTo>
                </a:path>
              </a:pathLst>
            </a:custGeom>
            <a:solidFill>
              <a:srgbClr val="D289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任意多边形 77">
              <a:extLst>
                <a:ext uri="{FF2B5EF4-FFF2-40B4-BE49-F238E27FC236}">
                  <a16:creationId xmlns:a16="http://schemas.microsoft.com/office/drawing/2014/main" id="{07E493AC-315C-4246-B50B-390E397BF388}"/>
                </a:ext>
              </a:extLst>
            </p:cNvPr>
            <p:cNvSpPr/>
            <p:nvPr/>
          </p:nvSpPr>
          <p:spPr bwMode="auto">
            <a:xfrm>
              <a:off x="4792664" y="3382963"/>
              <a:ext cx="79375" cy="130175"/>
            </a:xfrm>
            <a:custGeom>
              <a:avLst/>
              <a:gdLst>
                <a:gd name="T0" fmla="*/ 8 w 30"/>
                <a:gd name="T1" fmla="*/ 50 h 50"/>
                <a:gd name="T2" fmla="*/ 30 w 30"/>
                <a:gd name="T3" fmla="*/ 0 h 50"/>
                <a:gd name="T4" fmla="*/ 30 w 30"/>
                <a:gd name="T5" fmla="*/ 2 h 50"/>
                <a:gd name="T6" fmla="*/ 10 w 30"/>
                <a:gd name="T7" fmla="*/ 49 h 50"/>
                <a:gd name="T8" fmla="*/ 8 w 30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0">
                  <a:moveTo>
                    <a:pt x="8" y="50"/>
                  </a:moveTo>
                  <a:cubicBezTo>
                    <a:pt x="0" y="27"/>
                    <a:pt x="8" y="10"/>
                    <a:pt x="30" y="0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9" y="12"/>
                    <a:pt x="2" y="28"/>
                    <a:pt x="10" y="49"/>
                  </a:cubicBezTo>
                  <a:cubicBezTo>
                    <a:pt x="8" y="50"/>
                    <a:pt x="8" y="50"/>
                    <a:pt x="8" y="50"/>
                  </a:cubicBezTo>
                </a:path>
              </a:pathLst>
            </a:custGeom>
            <a:solidFill>
              <a:srgbClr val="C95B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任意多边形 78">
              <a:extLst>
                <a:ext uri="{FF2B5EF4-FFF2-40B4-BE49-F238E27FC236}">
                  <a16:creationId xmlns:a16="http://schemas.microsoft.com/office/drawing/2014/main" id="{DAC61535-64FB-46F9-9790-2040104794E2}"/>
                </a:ext>
              </a:extLst>
            </p:cNvPr>
            <p:cNvSpPr/>
            <p:nvPr/>
          </p:nvSpPr>
          <p:spPr bwMode="auto">
            <a:xfrm>
              <a:off x="4471989" y="2801938"/>
              <a:ext cx="722313" cy="557213"/>
            </a:xfrm>
            <a:custGeom>
              <a:avLst/>
              <a:gdLst>
                <a:gd name="T0" fmla="*/ 16 w 277"/>
                <a:gd name="T1" fmla="*/ 10 h 214"/>
                <a:gd name="T2" fmla="*/ 274 w 277"/>
                <a:gd name="T3" fmla="*/ 158 h 214"/>
                <a:gd name="T4" fmla="*/ 277 w 277"/>
                <a:gd name="T5" fmla="*/ 156 h 214"/>
                <a:gd name="T6" fmla="*/ 277 w 277"/>
                <a:gd name="T7" fmla="*/ 214 h 214"/>
                <a:gd name="T8" fmla="*/ 30 w 277"/>
                <a:gd name="T9" fmla="*/ 71 h 214"/>
                <a:gd name="T10" fmla="*/ 16 w 277"/>
                <a:gd name="T11" fmla="*/ 47 h 214"/>
                <a:gd name="T12" fmla="*/ 16 w 277"/>
                <a:gd name="T13" fmla="*/ 1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14">
                  <a:moveTo>
                    <a:pt x="16" y="10"/>
                  </a:moveTo>
                  <a:cubicBezTo>
                    <a:pt x="18" y="10"/>
                    <a:pt x="0" y="0"/>
                    <a:pt x="274" y="158"/>
                  </a:cubicBezTo>
                  <a:cubicBezTo>
                    <a:pt x="277" y="156"/>
                    <a:pt x="277" y="156"/>
                    <a:pt x="277" y="156"/>
                  </a:cubicBezTo>
                  <a:cubicBezTo>
                    <a:pt x="277" y="214"/>
                    <a:pt x="277" y="214"/>
                    <a:pt x="277" y="214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22" y="67"/>
                    <a:pt x="16" y="56"/>
                    <a:pt x="16" y="47"/>
                  </a:cubicBezTo>
                  <a:cubicBezTo>
                    <a:pt x="16" y="10"/>
                    <a:pt x="16" y="11"/>
                    <a:pt x="16" y="10"/>
                  </a:cubicBezTo>
                </a:path>
              </a:pathLst>
            </a:custGeom>
            <a:solidFill>
              <a:srgbClr val="DFE3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任意多边形 79">
              <a:extLst>
                <a:ext uri="{FF2B5EF4-FFF2-40B4-BE49-F238E27FC236}">
                  <a16:creationId xmlns:a16="http://schemas.microsoft.com/office/drawing/2014/main" id="{261C78B6-013E-4022-9D74-24A57F94D3A1}"/>
                </a:ext>
              </a:extLst>
            </p:cNvPr>
            <p:cNvSpPr/>
            <p:nvPr/>
          </p:nvSpPr>
          <p:spPr bwMode="auto">
            <a:xfrm>
              <a:off x="4483101" y="2809876"/>
              <a:ext cx="1655763" cy="581025"/>
            </a:xfrm>
            <a:custGeom>
              <a:avLst/>
              <a:gdLst>
                <a:gd name="T0" fmla="*/ 12 w 635"/>
                <a:gd name="T1" fmla="*/ 7 h 223"/>
                <a:gd name="T2" fmla="*/ 12 w 635"/>
                <a:gd name="T3" fmla="*/ 44 h 223"/>
                <a:gd name="T4" fmla="*/ 26 w 635"/>
                <a:gd name="T5" fmla="*/ 68 h 223"/>
                <a:gd name="T6" fmla="*/ 273 w 635"/>
                <a:gd name="T7" fmla="*/ 211 h 223"/>
                <a:gd name="T8" fmla="*/ 616 w 635"/>
                <a:gd name="T9" fmla="*/ 13 h 223"/>
                <a:gd name="T10" fmla="*/ 616 w 635"/>
                <a:gd name="T11" fmla="*/ 0 h 223"/>
                <a:gd name="T12" fmla="*/ 635 w 635"/>
                <a:gd name="T13" fmla="*/ 11 h 223"/>
                <a:gd name="T14" fmla="*/ 270 w 635"/>
                <a:gd name="T15" fmla="*/ 223 h 223"/>
                <a:gd name="T16" fmla="*/ 14 w 635"/>
                <a:gd name="T17" fmla="*/ 75 h 223"/>
                <a:gd name="T18" fmla="*/ 0 w 635"/>
                <a:gd name="T19" fmla="*/ 51 h 223"/>
                <a:gd name="T20" fmla="*/ 0 w 635"/>
                <a:gd name="T21" fmla="*/ 16 h 223"/>
                <a:gd name="T22" fmla="*/ 3 w 635"/>
                <a:gd name="T23" fmla="*/ 8 h 223"/>
                <a:gd name="T24" fmla="*/ 12 w 635"/>
                <a:gd name="T25" fmla="*/ 7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5" h="223">
                  <a:moveTo>
                    <a:pt x="12" y="7"/>
                  </a:moveTo>
                  <a:cubicBezTo>
                    <a:pt x="12" y="9"/>
                    <a:pt x="12" y="7"/>
                    <a:pt x="12" y="44"/>
                  </a:cubicBezTo>
                  <a:cubicBezTo>
                    <a:pt x="12" y="53"/>
                    <a:pt x="18" y="64"/>
                    <a:pt x="26" y="68"/>
                  </a:cubicBezTo>
                  <a:cubicBezTo>
                    <a:pt x="273" y="211"/>
                    <a:pt x="273" y="211"/>
                    <a:pt x="273" y="211"/>
                  </a:cubicBezTo>
                  <a:cubicBezTo>
                    <a:pt x="616" y="13"/>
                    <a:pt x="616" y="13"/>
                    <a:pt x="616" y="13"/>
                  </a:cubicBezTo>
                  <a:cubicBezTo>
                    <a:pt x="616" y="0"/>
                    <a:pt x="616" y="0"/>
                    <a:pt x="616" y="0"/>
                  </a:cubicBezTo>
                  <a:cubicBezTo>
                    <a:pt x="635" y="11"/>
                    <a:pt x="635" y="11"/>
                    <a:pt x="635" y="11"/>
                  </a:cubicBezTo>
                  <a:cubicBezTo>
                    <a:pt x="270" y="223"/>
                    <a:pt x="270" y="223"/>
                    <a:pt x="270" y="223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7" y="71"/>
                    <a:pt x="0" y="60"/>
                    <a:pt x="0" y="5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"/>
                    <a:pt x="1" y="10"/>
                    <a:pt x="3" y="8"/>
                  </a:cubicBezTo>
                  <a:cubicBezTo>
                    <a:pt x="5" y="6"/>
                    <a:pt x="8" y="5"/>
                    <a:pt x="12" y="7"/>
                  </a:cubicBezTo>
                </a:path>
              </a:pathLst>
            </a:custGeom>
            <a:solidFill>
              <a:srgbClr val="9ED2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任意多边形 80">
              <a:extLst>
                <a:ext uri="{FF2B5EF4-FFF2-40B4-BE49-F238E27FC236}">
                  <a16:creationId xmlns:a16="http://schemas.microsoft.com/office/drawing/2014/main" id="{4F009675-B9AF-411A-B81A-3E6A77852F1E}"/>
                </a:ext>
              </a:extLst>
            </p:cNvPr>
            <p:cNvSpPr/>
            <p:nvPr/>
          </p:nvSpPr>
          <p:spPr bwMode="auto">
            <a:xfrm>
              <a:off x="4471989" y="3008313"/>
              <a:ext cx="258763" cy="346075"/>
            </a:xfrm>
            <a:custGeom>
              <a:avLst/>
              <a:gdLst>
                <a:gd name="T0" fmla="*/ 14 w 99"/>
                <a:gd name="T1" fmla="*/ 12 h 133"/>
                <a:gd name="T2" fmla="*/ 14 w 99"/>
                <a:gd name="T3" fmla="*/ 33 h 133"/>
                <a:gd name="T4" fmla="*/ 25 w 99"/>
                <a:gd name="T5" fmla="*/ 59 h 133"/>
                <a:gd name="T6" fmla="*/ 98 w 99"/>
                <a:gd name="T7" fmla="*/ 122 h 133"/>
                <a:gd name="T8" fmla="*/ 98 w 99"/>
                <a:gd name="T9" fmla="*/ 122 h 133"/>
                <a:gd name="T10" fmla="*/ 91 w 99"/>
                <a:gd name="T11" fmla="*/ 132 h 133"/>
                <a:gd name="T12" fmla="*/ 11 w 99"/>
                <a:gd name="T13" fmla="*/ 64 h 133"/>
                <a:gd name="T14" fmla="*/ 0 w 99"/>
                <a:gd name="T15" fmla="*/ 38 h 133"/>
                <a:gd name="T16" fmla="*/ 1 w 99"/>
                <a:gd name="T17" fmla="*/ 3 h 133"/>
                <a:gd name="T18" fmla="*/ 14 w 99"/>
                <a:gd name="T19" fmla="*/ 1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133">
                  <a:moveTo>
                    <a:pt x="14" y="12"/>
                  </a:moveTo>
                  <a:cubicBezTo>
                    <a:pt x="14" y="33"/>
                    <a:pt x="14" y="33"/>
                    <a:pt x="14" y="33"/>
                  </a:cubicBezTo>
                  <a:cubicBezTo>
                    <a:pt x="14" y="42"/>
                    <a:pt x="19" y="53"/>
                    <a:pt x="25" y="59"/>
                  </a:cubicBezTo>
                  <a:cubicBezTo>
                    <a:pt x="99" y="122"/>
                    <a:pt x="99" y="122"/>
                    <a:pt x="98" y="122"/>
                  </a:cubicBezTo>
                  <a:cubicBezTo>
                    <a:pt x="98" y="122"/>
                    <a:pt x="98" y="121"/>
                    <a:pt x="98" y="122"/>
                  </a:cubicBezTo>
                  <a:cubicBezTo>
                    <a:pt x="95" y="125"/>
                    <a:pt x="93" y="129"/>
                    <a:pt x="91" y="132"/>
                  </a:cubicBezTo>
                  <a:cubicBezTo>
                    <a:pt x="91" y="132"/>
                    <a:pt x="91" y="133"/>
                    <a:pt x="11" y="64"/>
                  </a:cubicBezTo>
                  <a:cubicBezTo>
                    <a:pt x="5" y="59"/>
                    <a:pt x="0" y="47"/>
                    <a:pt x="0" y="38"/>
                  </a:cubicBezTo>
                  <a:cubicBezTo>
                    <a:pt x="0" y="0"/>
                    <a:pt x="0" y="4"/>
                    <a:pt x="1" y="3"/>
                  </a:cubicBezTo>
                  <a:cubicBezTo>
                    <a:pt x="4" y="6"/>
                    <a:pt x="5" y="7"/>
                    <a:pt x="14" y="12"/>
                  </a:cubicBezTo>
                </a:path>
              </a:pathLst>
            </a:custGeom>
            <a:solidFill>
              <a:srgbClr val="A26D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任意多边形 81">
              <a:extLst>
                <a:ext uri="{FF2B5EF4-FFF2-40B4-BE49-F238E27FC236}">
                  <a16:creationId xmlns:a16="http://schemas.microsoft.com/office/drawing/2014/main" id="{E3B0AE8F-3300-428C-8859-FFC5042F9856}"/>
                </a:ext>
              </a:extLst>
            </p:cNvPr>
            <p:cNvSpPr/>
            <p:nvPr/>
          </p:nvSpPr>
          <p:spPr bwMode="auto">
            <a:xfrm>
              <a:off x="4459289" y="2212976"/>
              <a:ext cx="1679575" cy="962025"/>
            </a:xfrm>
            <a:custGeom>
              <a:avLst/>
              <a:gdLst>
                <a:gd name="T0" fmla="*/ 0 w 644"/>
                <a:gd name="T1" fmla="*/ 213 h 369"/>
                <a:gd name="T2" fmla="*/ 368 w 644"/>
                <a:gd name="T3" fmla="*/ 1 h 369"/>
                <a:gd name="T4" fmla="*/ 369 w 644"/>
                <a:gd name="T5" fmla="*/ 1 h 369"/>
                <a:gd name="T6" fmla="*/ 376 w 644"/>
                <a:gd name="T7" fmla="*/ 3 h 369"/>
                <a:gd name="T8" fmla="*/ 644 w 644"/>
                <a:gd name="T9" fmla="*/ 158 h 369"/>
                <a:gd name="T10" fmla="*/ 279 w 644"/>
                <a:gd name="T11" fmla="*/ 369 h 369"/>
                <a:gd name="T12" fmla="*/ 6 w 644"/>
                <a:gd name="T13" fmla="*/ 212 h 369"/>
                <a:gd name="T14" fmla="*/ 5 w 644"/>
                <a:gd name="T15" fmla="*/ 212 h 369"/>
                <a:gd name="T16" fmla="*/ 0 w 644"/>
                <a:gd name="T17" fmla="*/ 21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4" h="369">
                  <a:moveTo>
                    <a:pt x="0" y="213"/>
                  </a:moveTo>
                  <a:cubicBezTo>
                    <a:pt x="370" y="0"/>
                    <a:pt x="368" y="0"/>
                    <a:pt x="368" y="1"/>
                  </a:cubicBezTo>
                  <a:cubicBezTo>
                    <a:pt x="368" y="1"/>
                    <a:pt x="368" y="1"/>
                    <a:pt x="369" y="1"/>
                  </a:cubicBezTo>
                  <a:cubicBezTo>
                    <a:pt x="371" y="1"/>
                    <a:pt x="373" y="1"/>
                    <a:pt x="376" y="3"/>
                  </a:cubicBezTo>
                  <a:cubicBezTo>
                    <a:pt x="644" y="158"/>
                    <a:pt x="644" y="158"/>
                    <a:pt x="644" y="158"/>
                  </a:cubicBezTo>
                  <a:cubicBezTo>
                    <a:pt x="279" y="369"/>
                    <a:pt x="279" y="369"/>
                    <a:pt x="279" y="369"/>
                  </a:cubicBezTo>
                  <a:cubicBezTo>
                    <a:pt x="7" y="212"/>
                    <a:pt x="8" y="212"/>
                    <a:pt x="6" y="212"/>
                  </a:cubicBezTo>
                  <a:cubicBezTo>
                    <a:pt x="6" y="212"/>
                    <a:pt x="5" y="212"/>
                    <a:pt x="5" y="212"/>
                  </a:cubicBezTo>
                  <a:cubicBezTo>
                    <a:pt x="4" y="212"/>
                    <a:pt x="2" y="212"/>
                    <a:pt x="0" y="213"/>
                  </a:cubicBezTo>
                </a:path>
              </a:pathLst>
            </a:custGeom>
            <a:solidFill>
              <a:srgbClr val="9ED2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任意多边形 82">
              <a:extLst>
                <a:ext uri="{FF2B5EF4-FFF2-40B4-BE49-F238E27FC236}">
                  <a16:creationId xmlns:a16="http://schemas.microsoft.com/office/drawing/2014/main" id="{E6E1D1B7-ABA9-469D-99A4-3BD1E5B0AA73}"/>
                </a:ext>
              </a:extLst>
            </p:cNvPr>
            <p:cNvSpPr/>
            <p:nvPr/>
          </p:nvSpPr>
          <p:spPr bwMode="auto">
            <a:xfrm>
              <a:off x="5364164" y="2408238"/>
              <a:ext cx="388938" cy="223838"/>
            </a:xfrm>
            <a:custGeom>
              <a:avLst/>
              <a:gdLst>
                <a:gd name="T0" fmla="*/ 5 w 149"/>
                <a:gd name="T1" fmla="*/ 17 h 86"/>
                <a:gd name="T2" fmla="*/ 121 w 149"/>
                <a:gd name="T3" fmla="*/ 84 h 86"/>
                <a:gd name="T4" fmla="*/ 138 w 149"/>
                <a:gd name="T5" fmla="*/ 84 h 86"/>
                <a:gd name="T6" fmla="*/ 144 w 149"/>
                <a:gd name="T7" fmla="*/ 80 h 86"/>
                <a:gd name="T8" fmla="*/ 144 w 149"/>
                <a:gd name="T9" fmla="*/ 70 h 86"/>
                <a:gd name="T10" fmla="*/ 28 w 149"/>
                <a:gd name="T11" fmla="*/ 3 h 86"/>
                <a:gd name="T12" fmla="*/ 10 w 149"/>
                <a:gd name="T13" fmla="*/ 3 h 86"/>
                <a:gd name="T14" fmla="*/ 5 w 149"/>
                <a:gd name="T15" fmla="*/ 7 h 86"/>
                <a:gd name="T16" fmla="*/ 5 w 149"/>
                <a:gd name="T17" fmla="*/ 1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86">
                  <a:moveTo>
                    <a:pt x="5" y="17"/>
                  </a:moveTo>
                  <a:cubicBezTo>
                    <a:pt x="121" y="84"/>
                    <a:pt x="121" y="84"/>
                    <a:pt x="121" y="84"/>
                  </a:cubicBezTo>
                  <a:cubicBezTo>
                    <a:pt x="126" y="86"/>
                    <a:pt x="134" y="86"/>
                    <a:pt x="138" y="84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9" y="78"/>
                    <a:pt x="149" y="73"/>
                    <a:pt x="144" y="70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3" y="0"/>
                    <a:pt x="15" y="0"/>
                    <a:pt x="10" y="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0" y="9"/>
                    <a:pt x="0" y="14"/>
                    <a:pt x="5" y="17"/>
                  </a:cubicBezTo>
                </a:path>
              </a:pathLst>
            </a:custGeom>
            <a:solidFill>
              <a:srgbClr val="76B2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任意多边形 83">
              <a:extLst>
                <a:ext uri="{FF2B5EF4-FFF2-40B4-BE49-F238E27FC236}">
                  <a16:creationId xmlns:a16="http://schemas.microsoft.com/office/drawing/2014/main" id="{EC7477B0-D11B-47C6-B893-FCBD849B0C71}"/>
                </a:ext>
              </a:extLst>
            </p:cNvPr>
            <p:cNvSpPr/>
            <p:nvPr/>
          </p:nvSpPr>
          <p:spPr bwMode="auto">
            <a:xfrm>
              <a:off x="4446589" y="2936876"/>
              <a:ext cx="268288" cy="454025"/>
            </a:xfrm>
            <a:custGeom>
              <a:avLst/>
              <a:gdLst>
                <a:gd name="T0" fmla="*/ 1 w 103"/>
                <a:gd name="T1" fmla="*/ 9 h 174"/>
                <a:gd name="T2" fmla="*/ 11 w 103"/>
                <a:gd name="T3" fmla="*/ 30 h 174"/>
                <a:gd name="T4" fmla="*/ 10 w 103"/>
                <a:gd name="T5" fmla="*/ 65 h 174"/>
                <a:gd name="T6" fmla="*/ 21 w 103"/>
                <a:gd name="T7" fmla="*/ 91 h 174"/>
                <a:gd name="T8" fmla="*/ 101 w 103"/>
                <a:gd name="T9" fmla="*/ 159 h 174"/>
                <a:gd name="T10" fmla="*/ 99 w 103"/>
                <a:gd name="T11" fmla="*/ 173 h 174"/>
                <a:gd name="T12" fmla="*/ 11 w 103"/>
                <a:gd name="T13" fmla="*/ 98 h 174"/>
                <a:gd name="T14" fmla="*/ 0 w 103"/>
                <a:gd name="T15" fmla="*/ 72 h 174"/>
                <a:gd name="T16" fmla="*/ 0 w 103"/>
                <a:gd name="T17" fmla="*/ 6 h 174"/>
                <a:gd name="T18" fmla="*/ 1 w 103"/>
                <a:gd name="T19" fmla="*/ 0 h 174"/>
                <a:gd name="T20" fmla="*/ 1 w 103"/>
                <a:gd name="T21" fmla="*/ 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174">
                  <a:moveTo>
                    <a:pt x="1" y="9"/>
                  </a:moveTo>
                  <a:cubicBezTo>
                    <a:pt x="1" y="17"/>
                    <a:pt x="5" y="25"/>
                    <a:pt x="11" y="30"/>
                  </a:cubicBezTo>
                  <a:cubicBezTo>
                    <a:pt x="10" y="31"/>
                    <a:pt x="10" y="28"/>
                    <a:pt x="10" y="65"/>
                  </a:cubicBezTo>
                  <a:cubicBezTo>
                    <a:pt x="10" y="74"/>
                    <a:pt x="15" y="86"/>
                    <a:pt x="21" y="91"/>
                  </a:cubicBezTo>
                  <a:cubicBezTo>
                    <a:pt x="103" y="161"/>
                    <a:pt x="101" y="159"/>
                    <a:pt x="101" y="159"/>
                  </a:cubicBezTo>
                  <a:cubicBezTo>
                    <a:pt x="100" y="164"/>
                    <a:pt x="99" y="168"/>
                    <a:pt x="99" y="173"/>
                  </a:cubicBezTo>
                  <a:cubicBezTo>
                    <a:pt x="99" y="173"/>
                    <a:pt x="100" y="174"/>
                    <a:pt x="11" y="98"/>
                  </a:cubicBezTo>
                  <a:cubicBezTo>
                    <a:pt x="5" y="92"/>
                    <a:pt x="0" y="81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0" y="2"/>
                    <a:pt x="1" y="0"/>
                  </a:cubicBezTo>
                  <a:cubicBezTo>
                    <a:pt x="1" y="9"/>
                    <a:pt x="1" y="9"/>
                    <a:pt x="1" y="9"/>
                  </a:cubicBezTo>
                </a:path>
              </a:pathLst>
            </a:custGeom>
            <a:solidFill>
              <a:srgbClr val="C48B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任意多边形 84">
              <a:extLst>
                <a:ext uri="{FF2B5EF4-FFF2-40B4-BE49-F238E27FC236}">
                  <a16:creationId xmlns:a16="http://schemas.microsoft.com/office/drawing/2014/main" id="{847DA058-22AD-4CB6-8A35-501AB5F510A9}"/>
                </a:ext>
              </a:extLst>
            </p:cNvPr>
            <p:cNvSpPr/>
            <p:nvPr/>
          </p:nvSpPr>
          <p:spPr bwMode="auto">
            <a:xfrm>
              <a:off x="5187951" y="2754313"/>
              <a:ext cx="795338" cy="458788"/>
            </a:xfrm>
            <a:custGeom>
              <a:avLst/>
              <a:gdLst>
                <a:gd name="T0" fmla="*/ 0 w 305"/>
                <a:gd name="T1" fmla="*/ 176 h 176"/>
                <a:gd name="T2" fmla="*/ 0 w 305"/>
                <a:gd name="T3" fmla="*/ 176 h 176"/>
                <a:gd name="T4" fmla="*/ 0 w 305"/>
                <a:gd name="T5" fmla="*/ 176 h 176"/>
                <a:gd name="T6" fmla="*/ 305 w 305"/>
                <a:gd name="T7" fmla="*/ 0 h 176"/>
                <a:gd name="T8" fmla="*/ 115 w 305"/>
                <a:gd name="T9" fmla="*/ 110 h 176"/>
                <a:gd name="T10" fmla="*/ 305 w 305"/>
                <a:gd name="T11" fmla="*/ 0 h 176"/>
                <a:gd name="T12" fmla="*/ 305 w 305"/>
                <a:gd name="T13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176">
                  <a:moveTo>
                    <a:pt x="0" y="176"/>
                  </a:moveTo>
                  <a:cubicBezTo>
                    <a:pt x="0" y="176"/>
                    <a:pt x="0" y="176"/>
                    <a:pt x="0" y="176"/>
                  </a:cubicBezTo>
                  <a:cubicBezTo>
                    <a:pt x="0" y="176"/>
                    <a:pt x="0" y="176"/>
                    <a:pt x="0" y="176"/>
                  </a:cubicBezTo>
                  <a:moveTo>
                    <a:pt x="305" y="0"/>
                  </a:moveTo>
                  <a:cubicBezTo>
                    <a:pt x="253" y="30"/>
                    <a:pt x="177" y="74"/>
                    <a:pt x="115" y="11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05" y="0"/>
                    <a:pt x="305" y="0"/>
                    <a:pt x="305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任意多边形 85">
              <a:extLst>
                <a:ext uri="{FF2B5EF4-FFF2-40B4-BE49-F238E27FC236}">
                  <a16:creationId xmlns:a16="http://schemas.microsoft.com/office/drawing/2014/main" id="{9135E5C6-148D-47F4-A725-811638EB4199}"/>
                </a:ext>
              </a:extLst>
            </p:cNvPr>
            <p:cNvSpPr/>
            <p:nvPr/>
          </p:nvSpPr>
          <p:spPr bwMode="auto">
            <a:xfrm>
              <a:off x="5194301" y="2754313"/>
              <a:ext cx="788988" cy="604838"/>
            </a:xfrm>
            <a:custGeom>
              <a:avLst/>
              <a:gdLst>
                <a:gd name="T0" fmla="*/ 302 w 302"/>
                <a:gd name="T1" fmla="*/ 0 h 232"/>
                <a:gd name="T2" fmla="*/ 112 w 302"/>
                <a:gd name="T3" fmla="*/ 110 h 232"/>
                <a:gd name="T4" fmla="*/ 0 w 302"/>
                <a:gd name="T5" fmla="*/ 174 h 232"/>
                <a:gd name="T6" fmla="*/ 0 w 302"/>
                <a:gd name="T7" fmla="*/ 201 h 232"/>
                <a:gd name="T8" fmla="*/ 0 w 302"/>
                <a:gd name="T9" fmla="*/ 206 h 232"/>
                <a:gd name="T10" fmla="*/ 0 w 302"/>
                <a:gd name="T11" fmla="*/ 217 h 232"/>
                <a:gd name="T12" fmla="*/ 0 w 302"/>
                <a:gd name="T13" fmla="*/ 232 h 232"/>
                <a:gd name="T14" fmla="*/ 0 w 302"/>
                <a:gd name="T15" fmla="*/ 232 h 232"/>
                <a:gd name="T16" fmla="*/ 0 w 302"/>
                <a:gd name="T17" fmla="*/ 232 h 232"/>
                <a:gd name="T18" fmla="*/ 302 w 302"/>
                <a:gd name="T19" fmla="*/ 58 h 232"/>
                <a:gd name="T20" fmla="*/ 302 w 302"/>
                <a:gd name="T21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2" h="232">
                  <a:moveTo>
                    <a:pt x="302" y="0"/>
                  </a:moveTo>
                  <a:cubicBezTo>
                    <a:pt x="112" y="110"/>
                    <a:pt x="112" y="110"/>
                    <a:pt x="112" y="110"/>
                  </a:cubicBezTo>
                  <a:cubicBezTo>
                    <a:pt x="57" y="141"/>
                    <a:pt x="12" y="167"/>
                    <a:pt x="0" y="174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202"/>
                    <a:pt x="0" y="204"/>
                    <a:pt x="0" y="206"/>
                  </a:cubicBezTo>
                  <a:cubicBezTo>
                    <a:pt x="0" y="209"/>
                    <a:pt x="0" y="213"/>
                    <a:pt x="0" y="21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302" y="58"/>
                    <a:pt x="302" y="58"/>
                    <a:pt x="302" y="58"/>
                  </a:cubicBezTo>
                  <a:cubicBezTo>
                    <a:pt x="302" y="0"/>
                    <a:pt x="302" y="0"/>
                    <a:pt x="302" y="0"/>
                  </a:cubicBezTo>
                </a:path>
              </a:pathLst>
            </a:custGeom>
            <a:solidFill>
              <a:srgbClr val="7275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任意多边形 86">
              <a:extLst>
                <a:ext uri="{FF2B5EF4-FFF2-40B4-BE49-F238E27FC236}">
                  <a16:creationId xmlns:a16="http://schemas.microsoft.com/office/drawing/2014/main" id="{48D81481-71B1-4E63-8027-7A1134133CEB}"/>
                </a:ext>
              </a:extLst>
            </p:cNvPr>
            <p:cNvSpPr/>
            <p:nvPr/>
          </p:nvSpPr>
          <p:spPr bwMode="auto">
            <a:xfrm>
              <a:off x="5187951" y="2716213"/>
              <a:ext cx="795338" cy="496888"/>
            </a:xfrm>
            <a:custGeom>
              <a:avLst/>
              <a:gdLst>
                <a:gd name="T0" fmla="*/ 305 w 305"/>
                <a:gd name="T1" fmla="*/ 0 h 191"/>
                <a:gd name="T2" fmla="*/ 0 w 305"/>
                <a:gd name="T3" fmla="*/ 176 h 191"/>
                <a:gd name="T4" fmla="*/ 0 w 305"/>
                <a:gd name="T5" fmla="*/ 191 h 191"/>
                <a:gd name="T6" fmla="*/ 0 w 305"/>
                <a:gd name="T7" fmla="*/ 191 h 191"/>
                <a:gd name="T8" fmla="*/ 0 w 305"/>
                <a:gd name="T9" fmla="*/ 191 h 191"/>
                <a:gd name="T10" fmla="*/ 0 w 305"/>
                <a:gd name="T11" fmla="*/ 191 h 191"/>
                <a:gd name="T12" fmla="*/ 3 w 305"/>
                <a:gd name="T13" fmla="*/ 189 h 191"/>
                <a:gd name="T14" fmla="*/ 3 w 305"/>
                <a:gd name="T15" fmla="*/ 189 h 191"/>
                <a:gd name="T16" fmla="*/ 115 w 305"/>
                <a:gd name="T17" fmla="*/ 125 h 191"/>
                <a:gd name="T18" fmla="*/ 305 w 305"/>
                <a:gd name="T19" fmla="*/ 15 h 191"/>
                <a:gd name="T20" fmla="*/ 305 w 305"/>
                <a:gd name="T21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5" h="191">
                  <a:moveTo>
                    <a:pt x="305" y="0"/>
                  </a:moveTo>
                  <a:cubicBezTo>
                    <a:pt x="0" y="176"/>
                    <a:pt x="0" y="176"/>
                    <a:pt x="0" y="176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3" y="189"/>
                    <a:pt x="3" y="189"/>
                    <a:pt x="3" y="189"/>
                  </a:cubicBezTo>
                  <a:cubicBezTo>
                    <a:pt x="3" y="189"/>
                    <a:pt x="3" y="189"/>
                    <a:pt x="3" y="189"/>
                  </a:cubicBezTo>
                  <a:cubicBezTo>
                    <a:pt x="15" y="182"/>
                    <a:pt x="60" y="156"/>
                    <a:pt x="115" y="125"/>
                  </a:cubicBezTo>
                  <a:cubicBezTo>
                    <a:pt x="177" y="89"/>
                    <a:pt x="253" y="45"/>
                    <a:pt x="305" y="15"/>
                  </a:cubicBezTo>
                  <a:cubicBezTo>
                    <a:pt x="305" y="0"/>
                    <a:pt x="305" y="0"/>
                    <a:pt x="305" y="0"/>
                  </a:cubicBezTo>
                </a:path>
              </a:pathLst>
            </a:custGeom>
            <a:solidFill>
              <a:srgbClr val="4864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任意多边形 87">
              <a:extLst>
                <a:ext uri="{FF2B5EF4-FFF2-40B4-BE49-F238E27FC236}">
                  <a16:creationId xmlns:a16="http://schemas.microsoft.com/office/drawing/2014/main" id="{FF817537-8F67-4D4E-9FFF-50F884AD28FC}"/>
                </a:ext>
              </a:extLst>
            </p:cNvPr>
            <p:cNvSpPr/>
            <p:nvPr/>
          </p:nvSpPr>
          <p:spPr bwMode="auto">
            <a:xfrm>
              <a:off x="4475164" y="2822576"/>
              <a:ext cx="1504950" cy="863600"/>
            </a:xfrm>
            <a:custGeom>
              <a:avLst/>
              <a:gdLst>
                <a:gd name="T0" fmla="*/ 272 w 577"/>
                <a:gd name="T1" fmla="*/ 232 h 331"/>
                <a:gd name="T2" fmla="*/ 273 w 577"/>
                <a:gd name="T3" fmla="*/ 224 h 331"/>
                <a:gd name="T4" fmla="*/ 218 w 577"/>
                <a:gd name="T5" fmla="*/ 238 h 331"/>
                <a:gd name="T6" fmla="*/ 256 w 577"/>
                <a:gd name="T7" fmla="*/ 224 h 331"/>
                <a:gd name="T8" fmla="*/ 577 w 577"/>
                <a:gd name="T9" fmla="*/ 181 h 331"/>
                <a:gd name="T10" fmla="*/ 219 w 577"/>
                <a:gd name="T11" fmla="*/ 323 h 331"/>
                <a:gd name="T12" fmla="*/ 226 w 577"/>
                <a:gd name="T13" fmla="*/ 322 h 331"/>
                <a:gd name="T14" fmla="*/ 253 w 577"/>
                <a:gd name="T15" fmla="*/ 313 h 331"/>
                <a:gd name="T16" fmla="*/ 276 w 577"/>
                <a:gd name="T17" fmla="*/ 324 h 331"/>
                <a:gd name="T18" fmla="*/ 310 w 577"/>
                <a:gd name="T19" fmla="*/ 312 h 331"/>
                <a:gd name="T20" fmla="*/ 347 w 577"/>
                <a:gd name="T21" fmla="*/ 331 h 331"/>
                <a:gd name="T22" fmla="*/ 368 w 577"/>
                <a:gd name="T23" fmla="*/ 322 h 331"/>
                <a:gd name="T24" fmla="*/ 385 w 577"/>
                <a:gd name="T25" fmla="*/ 322 h 331"/>
                <a:gd name="T26" fmla="*/ 406 w 577"/>
                <a:gd name="T27" fmla="*/ 331 h 331"/>
                <a:gd name="T28" fmla="*/ 446 w 577"/>
                <a:gd name="T29" fmla="*/ 310 h 331"/>
                <a:gd name="T30" fmla="*/ 577 w 577"/>
                <a:gd name="T31" fmla="*/ 181 h 331"/>
                <a:gd name="T32" fmla="*/ 279 w 577"/>
                <a:gd name="T33" fmla="*/ 229 h 331"/>
                <a:gd name="T34" fmla="*/ 409 w 577"/>
                <a:gd name="T35" fmla="*/ 154 h 331"/>
                <a:gd name="T36" fmla="*/ 356 w 577"/>
                <a:gd name="T37" fmla="*/ 185 h 331"/>
                <a:gd name="T38" fmla="*/ 464 w 577"/>
                <a:gd name="T39" fmla="*/ 143 h 331"/>
                <a:gd name="T40" fmla="*/ 478 w 577"/>
                <a:gd name="T41" fmla="*/ 137 h 331"/>
                <a:gd name="T42" fmla="*/ 577 w 577"/>
                <a:gd name="T43" fmla="*/ 99 h 331"/>
                <a:gd name="T44" fmla="*/ 27 w 577"/>
                <a:gd name="T45" fmla="*/ 91 h 331"/>
                <a:gd name="T46" fmla="*/ 93 w 577"/>
                <a:gd name="T47" fmla="*/ 139 h 331"/>
                <a:gd name="T48" fmla="*/ 59 w 577"/>
                <a:gd name="T49" fmla="*/ 110 h 331"/>
                <a:gd name="T50" fmla="*/ 27 w 577"/>
                <a:gd name="T51" fmla="*/ 91 h 331"/>
                <a:gd name="T52" fmla="*/ 470 w 577"/>
                <a:gd name="T53" fmla="*/ 119 h 331"/>
                <a:gd name="T54" fmla="*/ 577 w 577"/>
                <a:gd name="T55" fmla="*/ 57 h 331"/>
                <a:gd name="T56" fmla="*/ 4 w 577"/>
                <a:gd name="T57" fmla="*/ 53 h 331"/>
                <a:gd name="T58" fmla="*/ 3 w 577"/>
                <a:gd name="T59" fmla="*/ 41 h 331"/>
                <a:gd name="T60" fmla="*/ 15 w 577"/>
                <a:gd name="T61" fmla="*/ 39 h 331"/>
                <a:gd name="T62" fmla="*/ 15 w 577"/>
                <a:gd name="T63" fmla="*/ 38 h 331"/>
                <a:gd name="T64" fmla="*/ 15 w 577"/>
                <a:gd name="T65" fmla="*/ 38 h 331"/>
                <a:gd name="T66" fmla="*/ 15 w 577"/>
                <a:gd name="T67" fmla="*/ 38 h 331"/>
                <a:gd name="T68" fmla="*/ 8 w 577"/>
                <a:gd name="T69" fmla="*/ 0 h 331"/>
                <a:gd name="T70" fmla="*/ 3 w 577"/>
                <a:gd name="T71" fmla="*/ 41 h 331"/>
                <a:gd name="T72" fmla="*/ 6 w 577"/>
                <a:gd name="T73" fmla="*/ 3 h 331"/>
                <a:gd name="T74" fmla="*/ 14 w 577"/>
                <a:gd name="T75" fmla="*/ 1 h 331"/>
                <a:gd name="T76" fmla="*/ 8 w 577"/>
                <a:gd name="T77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7" h="331">
                  <a:moveTo>
                    <a:pt x="273" y="224"/>
                  </a:moveTo>
                  <a:cubicBezTo>
                    <a:pt x="272" y="226"/>
                    <a:pt x="272" y="229"/>
                    <a:pt x="272" y="232"/>
                  </a:cubicBezTo>
                  <a:cubicBezTo>
                    <a:pt x="273" y="233"/>
                    <a:pt x="273" y="233"/>
                    <a:pt x="273" y="233"/>
                  </a:cubicBezTo>
                  <a:cubicBezTo>
                    <a:pt x="273" y="224"/>
                    <a:pt x="273" y="224"/>
                    <a:pt x="273" y="224"/>
                  </a:cubicBezTo>
                  <a:moveTo>
                    <a:pt x="256" y="224"/>
                  </a:moveTo>
                  <a:cubicBezTo>
                    <a:pt x="228" y="235"/>
                    <a:pt x="222" y="237"/>
                    <a:pt x="218" y="238"/>
                  </a:cubicBezTo>
                  <a:cubicBezTo>
                    <a:pt x="219" y="238"/>
                    <a:pt x="219" y="238"/>
                    <a:pt x="219" y="238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56" y="224"/>
                    <a:pt x="256" y="224"/>
                    <a:pt x="256" y="224"/>
                  </a:cubicBezTo>
                  <a:moveTo>
                    <a:pt x="577" y="181"/>
                  </a:moveTo>
                  <a:cubicBezTo>
                    <a:pt x="229" y="317"/>
                    <a:pt x="229" y="317"/>
                    <a:pt x="229" y="317"/>
                  </a:cubicBezTo>
                  <a:cubicBezTo>
                    <a:pt x="219" y="323"/>
                    <a:pt x="219" y="323"/>
                    <a:pt x="219" y="323"/>
                  </a:cubicBezTo>
                  <a:cubicBezTo>
                    <a:pt x="219" y="323"/>
                    <a:pt x="218" y="323"/>
                    <a:pt x="218" y="323"/>
                  </a:cubicBezTo>
                  <a:cubicBezTo>
                    <a:pt x="221" y="323"/>
                    <a:pt x="224" y="322"/>
                    <a:pt x="226" y="322"/>
                  </a:cubicBezTo>
                  <a:cubicBezTo>
                    <a:pt x="232" y="320"/>
                    <a:pt x="238" y="318"/>
                    <a:pt x="244" y="315"/>
                  </a:cubicBezTo>
                  <a:cubicBezTo>
                    <a:pt x="247" y="313"/>
                    <a:pt x="250" y="313"/>
                    <a:pt x="253" y="313"/>
                  </a:cubicBezTo>
                  <a:cubicBezTo>
                    <a:pt x="257" y="313"/>
                    <a:pt x="261" y="314"/>
                    <a:pt x="264" y="318"/>
                  </a:cubicBezTo>
                  <a:cubicBezTo>
                    <a:pt x="268" y="322"/>
                    <a:pt x="272" y="324"/>
                    <a:pt x="276" y="324"/>
                  </a:cubicBezTo>
                  <a:cubicBezTo>
                    <a:pt x="279" y="324"/>
                    <a:pt x="282" y="323"/>
                    <a:pt x="285" y="322"/>
                  </a:cubicBezTo>
                  <a:cubicBezTo>
                    <a:pt x="293" y="319"/>
                    <a:pt x="301" y="316"/>
                    <a:pt x="310" y="312"/>
                  </a:cubicBezTo>
                  <a:cubicBezTo>
                    <a:pt x="318" y="317"/>
                    <a:pt x="326" y="322"/>
                    <a:pt x="335" y="327"/>
                  </a:cubicBezTo>
                  <a:cubicBezTo>
                    <a:pt x="339" y="329"/>
                    <a:pt x="343" y="331"/>
                    <a:pt x="347" y="331"/>
                  </a:cubicBezTo>
                  <a:cubicBezTo>
                    <a:pt x="351" y="331"/>
                    <a:pt x="355" y="330"/>
                    <a:pt x="359" y="327"/>
                  </a:cubicBezTo>
                  <a:cubicBezTo>
                    <a:pt x="362" y="325"/>
                    <a:pt x="365" y="324"/>
                    <a:pt x="368" y="322"/>
                  </a:cubicBezTo>
                  <a:cubicBezTo>
                    <a:pt x="371" y="320"/>
                    <a:pt x="374" y="319"/>
                    <a:pt x="377" y="319"/>
                  </a:cubicBezTo>
                  <a:cubicBezTo>
                    <a:pt x="379" y="319"/>
                    <a:pt x="382" y="320"/>
                    <a:pt x="385" y="322"/>
                  </a:cubicBezTo>
                  <a:cubicBezTo>
                    <a:pt x="388" y="324"/>
                    <a:pt x="391" y="326"/>
                    <a:pt x="395" y="328"/>
                  </a:cubicBezTo>
                  <a:cubicBezTo>
                    <a:pt x="398" y="330"/>
                    <a:pt x="402" y="331"/>
                    <a:pt x="406" y="331"/>
                  </a:cubicBezTo>
                  <a:cubicBezTo>
                    <a:pt x="410" y="331"/>
                    <a:pt x="413" y="330"/>
                    <a:pt x="417" y="327"/>
                  </a:cubicBezTo>
                  <a:cubicBezTo>
                    <a:pt x="427" y="322"/>
                    <a:pt x="436" y="316"/>
                    <a:pt x="446" y="310"/>
                  </a:cubicBezTo>
                  <a:cubicBezTo>
                    <a:pt x="490" y="285"/>
                    <a:pt x="533" y="260"/>
                    <a:pt x="577" y="235"/>
                  </a:cubicBezTo>
                  <a:cubicBezTo>
                    <a:pt x="577" y="181"/>
                    <a:pt x="577" y="181"/>
                    <a:pt x="577" y="181"/>
                  </a:cubicBezTo>
                  <a:moveTo>
                    <a:pt x="409" y="154"/>
                  </a:moveTo>
                  <a:cubicBezTo>
                    <a:pt x="370" y="177"/>
                    <a:pt x="326" y="202"/>
                    <a:pt x="279" y="229"/>
                  </a:cubicBezTo>
                  <a:cubicBezTo>
                    <a:pt x="356" y="185"/>
                    <a:pt x="356" y="185"/>
                    <a:pt x="356" y="185"/>
                  </a:cubicBezTo>
                  <a:cubicBezTo>
                    <a:pt x="409" y="154"/>
                    <a:pt x="409" y="154"/>
                    <a:pt x="409" y="154"/>
                  </a:cubicBezTo>
                  <a:moveTo>
                    <a:pt x="464" y="143"/>
                  </a:moveTo>
                  <a:cubicBezTo>
                    <a:pt x="434" y="154"/>
                    <a:pt x="398" y="168"/>
                    <a:pt x="356" y="185"/>
                  </a:cubicBezTo>
                  <a:cubicBezTo>
                    <a:pt x="464" y="143"/>
                    <a:pt x="464" y="143"/>
                    <a:pt x="464" y="143"/>
                  </a:cubicBezTo>
                  <a:cubicBezTo>
                    <a:pt x="464" y="143"/>
                    <a:pt x="464" y="143"/>
                    <a:pt x="464" y="143"/>
                  </a:cubicBezTo>
                  <a:moveTo>
                    <a:pt x="577" y="98"/>
                  </a:moveTo>
                  <a:cubicBezTo>
                    <a:pt x="555" y="107"/>
                    <a:pt x="523" y="120"/>
                    <a:pt x="478" y="137"/>
                  </a:cubicBezTo>
                  <a:cubicBezTo>
                    <a:pt x="478" y="137"/>
                    <a:pt x="478" y="137"/>
                    <a:pt x="478" y="137"/>
                  </a:cubicBezTo>
                  <a:cubicBezTo>
                    <a:pt x="577" y="99"/>
                    <a:pt x="577" y="99"/>
                    <a:pt x="577" y="99"/>
                  </a:cubicBezTo>
                  <a:cubicBezTo>
                    <a:pt x="577" y="98"/>
                    <a:pt x="577" y="98"/>
                    <a:pt x="577" y="98"/>
                  </a:cubicBezTo>
                  <a:moveTo>
                    <a:pt x="27" y="91"/>
                  </a:moveTo>
                  <a:cubicBezTo>
                    <a:pt x="59" y="110"/>
                    <a:pt x="59" y="110"/>
                    <a:pt x="59" y="110"/>
                  </a:cubicBezTo>
                  <a:cubicBezTo>
                    <a:pt x="93" y="139"/>
                    <a:pt x="93" y="139"/>
                    <a:pt x="93" y="139"/>
                  </a:cubicBezTo>
                  <a:cubicBezTo>
                    <a:pt x="93" y="139"/>
                    <a:pt x="93" y="139"/>
                    <a:pt x="93" y="139"/>
                  </a:cubicBezTo>
                  <a:cubicBezTo>
                    <a:pt x="59" y="110"/>
                    <a:pt x="59" y="110"/>
                    <a:pt x="59" y="110"/>
                  </a:cubicBezTo>
                  <a:cubicBezTo>
                    <a:pt x="109" y="138"/>
                    <a:pt x="109" y="138"/>
                    <a:pt x="109" y="138"/>
                  </a:cubicBezTo>
                  <a:cubicBezTo>
                    <a:pt x="82" y="123"/>
                    <a:pt x="52" y="103"/>
                    <a:pt x="27" y="91"/>
                  </a:cubicBezTo>
                  <a:moveTo>
                    <a:pt x="577" y="57"/>
                  </a:moveTo>
                  <a:cubicBezTo>
                    <a:pt x="546" y="75"/>
                    <a:pt x="510" y="96"/>
                    <a:pt x="470" y="119"/>
                  </a:cubicBezTo>
                  <a:cubicBezTo>
                    <a:pt x="577" y="57"/>
                    <a:pt x="577" y="57"/>
                    <a:pt x="577" y="57"/>
                  </a:cubicBezTo>
                  <a:cubicBezTo>
                    <a:pt x="577" y="57"/>
                    <a:pt x="577" y="57"/>
                    <a:pt x="577" y="57"/>
                  </a:cubicBezTo>
                  <a:moveTo>
                    <a:pt x="3" y="41"/>
                  </a:moveTo>
                  <a:cubicBezTo>
                    <a:pt x="2" y="46"/>
                    <a:pt x="4" y="52"/>
                    <a:pt x="4" y="53"/>
                  </a:cubicBezTo>
                  <a:cubicBezTo>
                    <a:pt x="4" y="50"/>
                    <a:pt x="3" y="48"/>
                    <a:pt x="3" y="46"/>
                  </a:cubicBezTo>
                  <a:cubicBezTo>
                    <a:pt x="3" y="41"/>
                    <a:pt x="3" y="41"/>
                    <a:pt x="3" y="41"/>
                  </a:cubicBezTo>
                  <a:moveTo>
                    <a:pt x="15" y="39"/>
                  </a:moveTo>
                  <a:cubicBezTo>
                    <a:pt x="15" y="39"/>
                    <a:pt x="15" y="39"/>
                    <a:pt x="15" y="39"/>
                  </a:cubicBezTo>
                  <a:cubicBezTo>
                    <a:pt x="15" y="39"/>
                    <a:pt x="15" y="39"/>
                    <a:pt x="15" y="39"/>
                  </a:cubicBezTo>
                  <a:moveTo>
                    <a:pt x="15" y="38"/>
                  </a:moveTo>
                  <a:cubicBezTo>
                    <a:pt x="15" y="39"/>
                    <a:pt x="15" y="39"/>
                    <a:pt x="15" y="39"/>
                  </a:cubicBezTo>
                  <a:cubicBezTo>
                    <a:pt x="15" y="39"/>
                    <a:pt x="15" y="39"/>
                    <a:pt x="15" y="38"/>
                  </a:cubicBezTo>
                  <a:moveTo>
                    <a:pt x="15" y="2"/>
                  </a:moveTo>
                  <a:cubicBezTo>
                    <a:pt x="15" y="3"/>
                    <a:pt x="15" y="4"/>
                    <a:pt x="15" y="38"/>
                  </a:cubicBezTo>
                  <a:cubicBezTo>
                    <a:pt x="15" y="4"/>
                    <a:pt x="15" y="3"/>
                    <a:pt x="15" y="2"/>
                  </a:cubicBezTo>
                  <a:moveTo>
                    <a:pt x="8" y="0"/>
                  </a:moveTo>
                  <a:cubicBezTo>
                    <a:pt x="6" y="0"/>
                    <a:pt x="3" y="1"/>
                    <a:pt x="2" y="4"/>
                  </a:cubicBezTo>
                  <a:cubicBezTo>
                    <a:pt x="0" y="8"/>
                    <a:pt x="3" y="41"/>
                    <a:pt x="3" y="4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8"/>
                    <a:pt x="4" y="5"/>
                    <a:pt x="6" y="3"/>
                  </a:cubicBezTo>
                  <a:cubicBezTo>
                    <a:pt x="7" y="2"/>
                    <a:pt x="9" y="1"/>
                    <a:pt x="11" y="1"/>
                  </a:cubicBezTo>
                  <a:cubicBezTo>
                    <a:pt x="12" y="1"/>
                    <a:pt x="13" y="1"/>
                    <a:pt x="14" y="1"/>
                  </a:cubicBezTo>
                  <a:cubicBezTo>
                    <a:pt x="14" y="1"/>
                    <a:pt x="13" y="1"/>
                    <a:pt x="13" y="1"/>
                  </a:cubicBezTo>
                  <a:cubicBezTo>
                    <a:pt x="13" y="1"/>
                    <a:pt x="11" y="0"/>
                    <a:pt x="8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任意多边形 88">
              <a:extLst>
                <a:ext uri="{FF2B5EF4-FFF2-40B4-BE49-F238E27FC236}">
                  <a16:creationId xmlns:a16="http://schemas.microsoft.com/office/drawing/2014/main" id="{198DE347-D385-4502-9D5D-171661211200}"/>
                </a:ext>
              </a:extLst>
            </p:cNvPr>
            <p:cNvSpPr/>
            <p:nvPr/>
          </p:nvSpPr>
          <p:spPr bwMode="auto">
            <a:xfrm>
              <a:off x="5027614" y="3179763"/>
              <a:ext cx="693738" cy="485775"/>
            </a:xfrm>
            <a:custGeom>
              <a:avLst/>
              <a:gdLst>
                <a:gd name="T0" fmla="*/ 17 w 266"/>
                <a:gd name="T1" fmla="*/ 180 h 186"/>
                <a:gd name="T2" fmla="*/ 0 w 266"/>
                <a:gd name="T3" fmla="*/ 186 h 186"/>
                <a:gd name="T4" fmla="*/ 6 w 266"/>
                <a:gd name="T5" fmla="*/ 186 h 186"/>
                <a:gd name="T6" fmla="*/ 7 w 266"/>
                <a:gd name="T7" fmla="*/ 186 h 186"/>
                <a:gd name="T8" fmla="*/ 17 w 266"/>
                <a:gd name="T9" fmla="*/ 180 h 186"/>
                <a:gd name="T10" fmla="*/ 266 w 266"/>
                <a:gd name="T11" fmla="*/ 0 h 186"/>
                <a:gd name="T12" fmla="*/ 266 w 266"/>
                <a:gd name="T13" fmla="*/ 0 h 186"/>
                <a:gd name="T14" fmla="*/ 252 w 266"/>
                <a:gd name="T15" fmla="*/ 6 h 186"/>
                <a:gd name="T16" fmla="*/ 252 w 266"/>
                <a:gd name="T17" fmla="*/ 6 h 186"/>
                <a:gd name="T18" fmla="*/ 266 w 266"/>
                <a:gd name="T19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86">
                  <a:moveTo>
                    <a:pt x="17" y="180"/>
                  </a:move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3" y="186"/>
                    <a:pt x="6" y="186"/>
                  </a:cubicBezTo>
                  <a:cubicBezTo>
                    <a:pt x="6" y="186"/>
                    <a:pt x="7" y="186"/>
                    <a:pt x="7" y="186"/>
                  </a:cubicBezTo>
                  <a:cubicBezTo>
                    <a:pt x="17" y="180"/>
                    <a:pt x="17" y="180"/>
                    <a:pt x="17" y="180"/>
                  </a:cubicBezTo>
                  <a:moveTo>
                    <a:pt x="266" y="0"/>
                  </a:moveTo>
                  <a:cubicBezTo>
                    <a:pt x="266" y="0"/>
                    <a:pt x="266" y="0"/>
                    <a:pt x="266" y="0"/>
                  </a:cubicBezTo>
                  <a:cubicBezTo>
                    <a:pt x="262" y="2"/>
                    <a:pt x="257" y="4"/>
                    <a:pt x="252" y="6"/>
                  </a:cubicBezTo>
                  <a:cubicBezTo>
                    <a:pt x="252" y="6"/>
                    <a:pt x="252" y="6"/>
                    <a:pt x="252" y="6"/>
                  </a:cubicBezTo>
                  <a:cubicBezTo>
                    <a:pt x="266" y="0"/>
                    <a:pt x="266" y="0"/>
                    <a:pt x="266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任意多边形 89">
              <a:extLst>
                <a:ext uri="{FF2B5EF4-FFF2-40B4-BE49-F238E27FC236}">
                  <a16:creationId xmlns:a16="http://schemas.microsoft.com/office/drawing/2014/main" id="{F0524D7B-5E50-4858-AD75-FB7F3E13746F}"/>
                </a:ext>
              </a:extLst>
            </p:cNvPr>
            <p:cNvSpPr/>
            <p:nvPr/>
          </p:nvSpPr>
          <p:spPr bwMode="auto">
            <a:xfrm>
              <a:off x="5027614" y="3255963"/>
              <a:ext cx="952500" cy="409575"/>
            </a:xfrm>
            <a:custGeom>
              <a:avLst/>
              <a:gdLst>
                <a:gd name="T0" fmla="*/ 365 w 365"/>
                <a:gd name="T1" fmla="*/ 0 h 157"/>
                <a:gd name="T2" fmla="*/ 0 w 365"/>
                <a:gd name="T3" fmla="*/ 142 h 157"/>
                <a:gd name="T4" fmla="*/ 0 w 365"/>
                <a:gd name="T5" fmla="*/ 142 h 157"/>
                <a:gd name="T6" fmla="*/ 0 w 365"/>
                <a:gd name="T7" fmla="*/ 142 h 157"/>
                <a:gd name="T8" fmla="*/ 0 w 365"/>
                <a:gd name="T9" fmla="*/ 157 h 157"/>
                <a:gd name="T10" fmla="*/ 0 w 365"/>
                <a:gd name="T11" fmla="*/ 157 h 157"/>
                <a:gd name="T12" fmla="*/ 17 w 365"/>
                <a:gd name="T13" fmla="*/ 151 h 157"/>
                <a:gd name="T14" fmla="*/ 365 w 365"/>
                <a:gd name="T15" fmla="*/ 15 h 157"/>
                <a:gd name="T16" fmla="*/ 365 w 365"/>
                <a:gd name="T1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5" h="157">
                  <a:moveTo>
                    <a:pt x="365" y="0"/>
                  </a:moveTo>
                  <a:cubicBezTo>
                    <a:pt x="0" y="142"/>
                    <a:pt x="0" y="142"/>
                    <a:pt x="0" y="14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365" y="15"/>
                    <a:pt x="365" y="15"/>
                    <a:pt x="365" y="15"/>
                  </a:cubicBezTo>
                  <a:cubicBezTo>
                    <a:pt x="365" y="0"/>
                    <a:pt x="365" y="0"/>
                    <a:pt x="365" y="0"/>
                  </a:cubicBezTo>
                </a:path>
              </a:pathLst>
            </a:custGeom>
            <a:solidFill>
              <a:srgbClr val="5837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任意多边形 90">
              <a:extLst>
                <a:ext uri="{FF2B5EF4-FFF2-40B4-BE49-F238E27FC236}">
                  <a16:creationId xmlns:a16="http://schemas.microsoft.com/office/drawing/2014/main" id="{1082262A-20B3-4AC4-A05D-E9A37EE67DF2}"/>
                </a:ext>
              </a:extLst>
            </p:cNvPr>
            <p:cNvSpPr/>
            <p:nvPr/>
          </p:nvSpPr>
          <p:spPr bwMode="auto">
            <a:xfrm>
              <a:off x="5403851" y="3038476"/>
              <a:ext cx="576263" cy="266700"/>
            </a:xfrm>
            <a:custGeom>
              <a:avLst/>
              <a:gdLst>
                <a:gd name="T0" fmla="*/ 221 w 221"/>
                <a:gd name="T1" fmla="*/ 0 h 102"/>
                <a:gd name="T2" fmla="*/ 81 w 221"/>
                <a:gd name="T3" fmla="*/ 55 h 102"/>
                <a:gd name="T4" fmla="*/ 53 w 221"/>
                <a:gd name="T5" fmla="*/ 71 h 102"/>
                <a:gd name="T6" fmla="*/ 0 w 221"/>
                <a:gd name="T7" fmla="*/ 102 h 102"/>
                <a:gd name="T8" fmla="*/ 0 w 221"/>
                <a:gd name="T9" fmla="*/ 102 h 102"/>
                <a:gd name="T10" fmla="*/ 108 w 221"/>
                <a:gd name="T11" fmla="*/ 60 h 102"/>
                <a:gd name="T12" fmla="*/ 122 w 221"/>
                <a:gd name="T13" fmla="*/ 54 h 102"/>
                <a:gd name="T14" fmla="*/ 221 w 221"/>
                <a:gd name="T15" fmla="*/ 15 h 102"/>
                <a:gd name="T16" fmla="*/ 221 w 221"/>
                <a:gd name="T1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1" h="102">
                  <a:moveTo>
                    <a:pt x="221" y="0"/>
                  </a:moveTo>
                  <a:cubicBezTo>
                    <a:pt x="81" y="55"/>
                    <a:pt x="81" y="55"/>
                    <a:pt x="81" y="55"/>
                  </a:cubicBezTo>
                  <a:cubicBezTo>
                    <a:pt x="72" y="60"/>
                    <a:pt x="63" y="65"/>
                    <a:pt x="53" y="71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2" y="85"/>
                    <a:pt x="78" y="71"/>
                    <a:pt x="108" y="60"/>
                  </a:cubicBezTo>
                  <a:cubicBezTo>
                    <a:pt x="113" y="58"/>
                    <a:pt x="118" y="56"/>
                    <a:pt x="122" y="54"/>
                  </a:cubicBezTo>
                  <a:cubicBezTo>
                    <a:pt x="167" y="37"/>
                    <a:pt x="199" y="24"/>
                    <a:pt x="221" y="15"/>
                  </a:cubicBezTo>
                  <a:cubicBezTo>
                    <a:pt x="221" y="0"/>
                    <a:pt x="221" y="0"/>
                    <a:pt x="221" y="0"/>
                  </a:cubicBezTo>
                </a:path>
              </a:pathLst>
            </a:custGeom>
            <a:solidFill>
              <a:srgbClr val="5837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2" name="任意多边形 91">
              <a:extLst>
                <a:ext uri="{FF2B5EF4-FFF2-40B4-BE49-F238E27FC236}">
                  <a16:creationId xmlns:a16="http://schemas.microsoft.com/office/drawing/2014/main" id="{BD7B862E-2289-48B4-8885-1BB537F86D49}"/>
                </a:ext>
              </a:extLst>
            </p:cNvPr>
            <p:cNvSpPr/>
            <p:nvPr/>
          </p:nvSpPr>
          <p:spPr bwMode="auto">
            <a:xfrm>
              <a:off x="5614989" y="2971801"/>
              <a:ext cx="365125" cy="211138"/>
            </a:xfrm>
            <a:custGeom>
              <a:avLst/>
              <a:gdLst>
                <a:gd name="T0" fmla="*/ 140 w 140"/>
                <a:gd name="T1" fmla="*/ 0 h 81"/>
                <a:gd name="T2" fmla="*/ 33 w 140"/>
                <a:gd name="T3" fmla="*/ 62 h 81"/>
                <a:gd name="T4" fmla="*/ 0 w 140"/>
                <a:gd name="T5" fmla="*/ 81 h 81"/>
                <a:gd name="T6" fmla="*/ 140 w 140"/>
                <a:gd name="T7" fmla="*/ 26 h 81"/>
                <a:gd name="T8" fmla="*/ 140 w 140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81">
                  <a:moveTo>
                    <a:pt x="140" y="0"/>
                  </a:moveTo>
                  <a:cubicBezTo>
                    <a:pt x="33" y="62"/>
                    <a:pt x="33" y="62"/>
                    <a:pt x="33" y="62"/>
                  </a:cubicBezTo>
                  <a:cubicBezTo>
                    <a:pt x="23" y="68"/>
                    <a:pt x="12" y="74"/>
                    <a:pt x="0" y="81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0"/>
                    <a:pt x="140" y="0"/>
                    <a:pt x="140" y="0"/>
                  </a:cubicBezTo>
                </a:path>
              </a:pathLst>
            </a:custGeom>
            <a:solidFill>
              <a:srgbClr val="7047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任意多边形 92">
              <a:extLst>
                <a:ext uri="{FF2B5EF4-FFF2-40B4-BE49-F238E27FC236}">
                  <a16:creationId xmlns:a16="http://schemas.microsoft.com/office/drawing/2014/main" id="{1032086E-DA03-41CD-AE2D-F5A174B880E1}"/>
                </a:ext>
              </a:extLst>
            </p:cNvPr>
            <p:cNvSpPr/>
            <p:nvPr/>
          </p:nvSpPr>
          <p:spPr bwMode="auto">
            <a:xfrm>
              <a:off x="5187951" y="2928938"/>
              <a:ext cx="792163" cy="501650"/>
            </a:xfrm>
            <a:custGeom>
              <a:avLst/>
              <a:gdLst>
                <a:gd name="T0" fmla="*/ 304 w 304"/>
                <a:gd name="T1" fmla="*/ 0 h 192"/>
                <a:gd name="T2" fmla="*/ 15 w 304"/>
                <a:gd name="T3" fmla="*/ 167 h 192"/>
                <a:gd name="T4" fmla="*/ 0 w 304"/>
                <a:gd name="T5" fmla="*/ 177 h 192"/>
                <a:gd name="T6" fmla="*/ 0 w 304"/>
                <a:gd name="T7" fmla="*/ 183 h 192"/>
                <a:gd name="T8" fmla="*/ 0 w 304"/>
                <a:gd name="T9" fmla="*/ 192 h 192"/>
                <a:gd name="T10" fmla="*/ 6 w 304"/>
                <a:gd name="T11" fmla="*/ 188 h 192"/>
                <a:gd name="T12" fmla="*/ 136 w 304"/>
                <a:gd name="T13" fmla="*/ 113 h 192"/>
                <a:gd name="T14" fmla="*/ 164 w 304"/>
                <a:gd name="T15" fmla="*/ 97 h 192"/>
                <a:gd name="T16" fmla="*/ 164 w 304"/>
                <a:gd name="T17" fmla="*/ 97 h 192"/>
                <a:gd name="T18" fmla="*/ 197 w 304"/>
                <a:gd name="T19" fmla="*/ 78 h 192"/>
                <a:gd name="T20" fmla="*/ 304 w 304"/>
                <a:gd name="T21" fmla="*/ 16 h 192"/>
                <a:gd name="T22" fmla="*/ 304 w 304"/>
                <a:gd name="T2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4" h="192">
                  <a:moveTo>
                    <a:pt x="304" y="0"/>
                  </a:moveTo>
                  <a:cubicBezTo>
                    <a:pt x="15" y="167"/>
                    <a:pt x="15" y="167"/>
                    <a:pt x="15" y="167"/>
                  </a:cubicBezTo>
                  <a:cubicBezTo>
                    <a:pt x="10" y="171"/>
                    <a:pt x="4" y="174"/>
                    <a:pt x="0" y="177"/>
                  </a:cubicBezTo>
                  <a:cubicBezTo>
                    <a:pt x="0" y="179"/>
                    <a:pt x="0" y="181"/>
                    <a:pt x="0" y="183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6" y="188"/>
                    <a:pt x="6" y="188"/>
                    <a:pt x="6" y="188"/>
                  </a:cubicBezTo>
                  <a:cubicBezTo>
                    <a:pt x="53" y="161"/>
                    <a:pt x="97" y="136"/>
                    <a:pt x="136" y="113"/>
                  </a:cubicBezTo>
                  <a:cubicBezTo>
                    <a:pt x="146" y="107"/>
                    <a:pt x="155" y="102"/>
                    <a:pt x="164" y="97"/>
                  </a:cubicBezTo>
                  <a:cubicBezTo>
                    <a:pt x="164" y="97"/>
                    <a:pt x="164" y="97"/>
                    <a:pt x="164" y="97"/>
                  </a:cubicBezTo>
                  <a:cubicBezTo>
                    <a:pt x="176" y="90"/>
                    <a:pt x="187" y="84"/>
                    <a:pt x="197" y="78"/>
                  </a:cubicBezTo>
                  <a:cubicBezTo>
                    <a:pt x="237" y="55"/>
                    <a:pt x="273" y="34"/>
                    <a:pt x="304" y="16"/>
                  </a:cubicBezTo>
                  <a:cubicBezTo>
                    <a:pt x="304" y="0"/>
                    <a:pt x="304" y="0"/>
                    <a:pt x="304" y="0"/>
                  </a:cubicBezTo>
                </a:path>
              </a:pathLst>
            </a:custGeom>
            <a:solidFill>
              <a:srgbClr val="4864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4" name="任意多边形 93">
              <a:extLst>
                <a:ext uri="{FF2B5EF4-FFF2-40B4-BE49-F238E27FC236}">
                  <a16:creationId xmlns:a16="http://schemas.microsoft.com/office/drawing/2014/main" id="{32839F16-2D48-4056-A40B-481CD746D16C}"/>
                </a:ext>
              </a:extLst>
            </p:cNvPr>
            <p:cNvSpPr/>
            <p:nvPr/>
          </p:nvSpPr>
          <p:spPr bwMode="auto">
            <a:xfrm>
              <a:off x="5046664" y="3081338"/>
              <a:ext cx="933450" cy="515938"/>
            </a:xfrm>
            <a:custGeom>
              <a:avLst/>
              <a:gdLst>
                <a:gd name="T0" fmla="*/ 358 w 358"/>
                <a:gd name="T1" fmla="*/ 0 h 198"/>
                <a:gd name="T2" fmla="*/ 259 w 358"/>
                <a:gd name="T3" fmla="*/ 38 h 198"/>
                <a:gd name="T4" fmla="*/ 245 w 358"/>
                <a:gd name="T5" fmla="*/ 44 h 198"/>
                <a:gd name="T6" fmla="*/ 137 w 358"/>
                <a:gd name="T7" fmla="*/ 86 h 198"/>
                <a:gd name="T8" fmla="*/ 137 w 358"/>
                <a:gd name="T9" fmla="*/ 86 h 198"/>
                <a:gd name="T10" fmla="*/ 60 w 358"/>
                <a:gd name="T11" fmla="*/ 130 h 198"/>
                <a:gd name="T12" fmla="*/ 54 w 358"/>
                <a:gd name="T13" fmla="*/ 134 h 198"/>
                <a:gd name="T14" fmla="*/ 53 w 358"/>
                <a:gd name="T15" fmla="*/ 133 h 198"/>
                <a:gd name="T16" fmla="*/ 53 w 358"/>
                <a:gd name="T17" fmla="*/ 133 h 198"/>
                <a:gd name="T18" fmla="*/ 37 w 358"/>
                <a:gd name="T19" fmla="*/ 125 h 198"/>
                <a:gd name="T20" fmla="*/ 0 w 358"/>
                <a:gd name="T21" fmla="*/ 139 h 198"/>
                <a:gd name="T22" fmla="*/ 0 w 358"/>
                <a:gd name="T23" fmla="*/ 166 h 198"/>
                <a:gd name="T24" fmla="*/ 0 w 358"/>
                <a:gd name="T25" fmla="*/ 166 h 198"/>
                <a:gd name="T26" fmla="*/ 0 w 358"/>
                <a:gd name="T27" fmla="*/ 198 h 198"/>
                <a:gd name="T28" fmla="*/ 0 w 358"/>
                <a:gd name="T29" fmla="*/ 198 h 198"/>
                <a:gd name="T30" fmla="*/ 358 w 358"/>
                <a:gd name="T31" fmla="*/ 59 h 198"/>
                <a:gd name="T32" fmla="*/ 358 w 358"/>
                <a:gd name="T3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8" h="198">
                  <a:moveTo>
                    <a:pt x="358" y="0"/>
                  </a:moveTo>
                  <a:cubicBezTo>
                    <a:pt x="259" y="38"/>
                    <a:pt x="259" y="38"/>
                    <a:pt x="259" y="38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137" y="86"/>
                    <a:pt x="137" y="86"/>
                    <a:pt x="137" y="86"/>
                  </a:cubicBezTo>
                  <a:cubicBezTo>
                    <a:pt x="137" y="86"/>
                    <a:pt x="137" y="86"/>
                    <a:pt x="137" y="86"/>
                  </a:cubicBezTo>
                  <a:cubicBezTo>
                    <a:pt x="60" y="130"/>
                    <a:pt x="60" y="130"/>
                    <a:pt x="60" y="130"/>
                  </a:cubicBezTo>
                  <a:cubicBezTo>
                    <a:pt x="54" y="134"/>
                    <a:pt x="54" y="134"/>
                    <a:pt x="54" y="134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49" y="131"/>
                    <a:pt x="42" y="127"/>
                    <a:pt x="37" y="125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358" y="59"/>
                    <a:pt x="358" y="59"/>
                    <a:pt x="358" y="59"/>
                  </a:cubicBezTo>
                  <a:cubicBezTo>
                    <a:pt x="358" y="0"/>
                    <a:pt x="358" y="0"/>
                    <a:pt x="358" y="0"/>
                  </a:cubicBezTo>
                </a:path>
              </a:pathLst>
            </a:custGeom>
            <a:solidFill>
              <a:srgbClr val="7275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任意多边形 94">
              <a:extLst>
                <a:ext uri="{FF2B5EF4-FFF2-40B4-BE49-F238E27FC236}">
                  <a16:creationId xmlns:a16="http://schemas.microsoft.com/office/drawing/2014/main" id="{94149D36-BCDB-420A-92AC-01CB51270C07}"/>
                </a:ext>
              </a:extLst>
            </p:cNvPr>
            <p:cNvSpPr/>
            <p:nvPr/>
          </p:nvSpPr>
          <p:spPr bwMode="auto">
            <a:xfrm>
              <a:off x="5027614" y="3381376"/>
              <a:ext cx="115888" cy="69850"/>
            </a:xfrm>
            <a:custGeom>
              <a:avLst/>
              <a:gdLst>
                <a:gd name="T0" fmla="*/ 29 w 44"/>
                <a:gd name="T1" fmla="*/ 0 h 27"/>
                <a:gd name="T2" fmla="*/ 29 w 44"/>
                <a:gd name="T3" fmla="*/ 0 h 27"/>
                <a:gd name="T4" fmla="*/ 0 w 44"/>
                <a:gd name="T5" fmla="*/ 11 h 27"/>
                <a:gd name="T6" fmla="*/ 0 w 44"/>
                <a:gd name="T7" fmla="*/ 27 h 27"/>
                <a:gd name="T8" fmla="*/ 0 w 44"/>
                <a:gd name="T9" fmla="*/ 27 h 27"/>
                <a:gd name="T10" fmla="*/ 6 w 44"/>
                <a:gd name="T11" fmla="*/ 24 h 27"/>
                <a:gd name="T12" fmla="*/ 44 w 44"/>
                <a:gd name="T13" fmla="*/ 10 h 27"/>
                <a:gd name="T14" fmla="*/ 34 w 44"/>
                <a:gd name="T15" fmla="*/ 4 h 27"/>
                <a:gd name="T16" fmla="*/ 29 w 44"/>
                <a:gd name="T1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27">
                  <a:moveTo>
                    <a:pt x="29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0" y="23"/>
                    <a:pt x="16" y="21"/>
                    <a:pt x="44" y="10"/>
                  </a:cubicBezTo>
                  <a:cubicBezTo>
                    <a:pt x="38" y="6"/>
                    <a:pt x="34" y="4"/>
                    <a:pt x="34" y="4"/>
                  </a:cubicBezTo>
                  <a:cubicBezTo>
                    <a:pt x="29" y="0"/>
                    <a:pt x="29" y="0"/>
                    <a:pt x="29" y="0"/>
                  </a:cubicBezTo>
                </a:path>
              </a:pathLst>
            </a:custGeom>
            <a:solidFill>
              <a:srgbClr val="5837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6" name="任意多边形 95">
              <a:extLst>
                <a:ext uri="{FF2B5EF4-FFF2-40B4-BE49-F238E27FC236}">
                  <a16:creationId xmlns:a16="http://schemas.microsoft.com/office/drawing/2014/main" id="{6E2148C3-BF36-40CD-B410-87814DF1201B}"/>
                </a:ext>
              </a:extLst>
            </p:cNvPr>
            <p:cNvSpPr/>
            <p:nvPr/>
          </p:nvSpPr>
          <p:spPr bwMode="auto">
            <a:xfrm>
              <a:off x="5027614" y="3235326"/>
              <a:ext cx="952500" cy="390525"/>
            </a:xfrm>
            <a:custGeom>
              <a:avLst/>
              <a:gdLst>
                <a:gd name="T0" fmla="*/ 0 w 365"/>
                <a:gd name="T1" fmla="*/ 150 h 150"/>
                <a:gd name="T2" fmla="*/ 0 w 365"/>
                <a:gd name="T3" fmla="*/ 150 h 150"/>
                <a:gd name="T4" fmla="*/ 365 w 365"/>
                <a:gd name="T5" fmla="*/ 0 h 150"/>
                <a:gd name="T6" fmla="*/ 7 w 365"/>
                <a:gd name="T7" fmla="*/ 139 h 150"/>
                <a:gd name="T8" fmla="*/ 14 w 365"/>
                <a:gd name="T9" fmla="*/ 139 h 150"/>
                <a:gd name="T10" fmla="*/ 24 w 365"/>
                <a:gd name="T11" fmla="*/ 139 h 150"/>
                <a:gd name="T12" fmla="*/ 0 w 365"/>
                <a:gd name="T13" fmla="*/ 150 h 150"/>
                <a:gd name="T14" fmla="*/ 365 w 365"/>
                <a:gd name="T15" fmla="*/ 8 h 150"/>
                <a:gd name="T16" fmla="*/ 365 w 365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5" h="150">
                  <a:moveTo>
                    <a:pt x="0" y="150"/>
                  </a:moveTo>
                  <a:cubicBezTo>
                    <a:pt x="0" y="150"/>
                    <a:pt x="0" y="150"/>
                    <a:pt x="0" y="150"/>
                  </a:cubicBezTo>
                  <a:moveTo>
                    <a:pt x="365" y="0"/>
                  </a:moveTo>
                  <a:cubicBezTo>
                    <a:pt x="7" y="139"/>
                    <a:pt x="7" y="139"/>
                    <a:pt x="7" y="139"/>
                  </a:cubicBezTo>
                  <a:cubicBezTo>
                    <a:pt x="7" y="139"/>
                    <a:pt x="10" y="139"/>
                    <a:pt x="14" y="139"/>
                  </a:cubicBezTo>
                  <a:cubicBezTo>
                    <a:pt x="17" y="139"/>
                    <a:pt x="21" y="139"/>
                    <a:pt x="24" y="139"/>
                  </a:cubicBezTo>
                  <a:cubicBezTo>
                    <a:pt x="18" y="143"/>
                    <a:pt x="1" y="150"/>
                    <a:pt x="0" y="150"/>
                  </a:cubicBezTo>
                  <a:cubicBezTo>
                    <a:pt x="365" y="8"/>
                    <a:pt x="365" y="8"/>
                    <a:pt x="365" y="8"/>
                  </a:cubicBezTo>
                  <a:cubicBezTo>
                    <a:pt x="365" y="0"/>
                    <a:pt x="365" y="0"/>
                    <a:pt x="365" y="0"/>
                  </a:cubicBezTo>
                </a:path>
              </a:pathLst>
            </a:custGeom>
            <a:solidFill>
              <a:srgbClr val="7047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任意多边形 96">
              <a:extLst>
                <a:ext uri="{FF2B5EF4-FFF2-40B4-BE49-F238E27FC236}">
                  <a16:creationId xmlns:a16="http://schemas.microsoft.com/office/drawing/2014/main" id="{080B582D-C400-4C02-A91E-9299D28051A2}"/>
                </a:ext>
              </a:extLst>
            </p:cNvPr>
            <p:cNvSpPr/>
            <p:nvPr/>
          </p:nvSpPr>
          <p:spPr bwMode="auto">
            <a:xfrm>
              <a:off x="4545014" y="3060701"/>
              <a:ext cx="501650" cy="452438"/>
            </a:xfrm>
            <a:custGeom>
              <a:avLst/>
              <a:gdLst>
                <a:gd name="T0" fmla="*/ 0 w 192"/>
                <a:gd name="T1" fmla="*/ 0 h 174"/>
                <a:gd name="T2" fmla="*/ 18 w 192"/>
                <a:gd name="T3" fmla="*/ 32 h 174"/>
                <a:gd name="T4" fmla="*/ 22 w 192"/>
                <a:gd name="T5" fmla="*/ 51 h 174"/>
                <a:gd name="T6" fmla="*/ 38 w 192"/>
                <a:gd name="T7" fmla="*/ 66 h 174"/>
                <a:gd name="T8" fmla="*/ 74 w 192"/>
                <a:gd name="T9" fmla="*/ 72 h 174"/>
                <a:gd name="T10" fmla="*/ 89 w 192"/>
                <a:gd name="T11" fmla="*/ 79 h 174"/>
                <a:gd name="T12" fmla="*/ 187 w 192"/>
                <a:gd name="T13" fmla="*/ 162 h 174"/>
                <a:gd name="T14" fmla="*/ 192 w 192"/>
                <a:gd name="T15" fmla="*/ 174 h 174"/>
                <a:gd name="T16" fmla="*/ 192 w 192"/>
                <a:gd name="T17" fmla="*/ 147 h 174"/>
                <a:gd name="T18" fmla="*/ 191 w 192"/>
                <a:gd name="T19" fmla="*/ 147 h 174"/>
                <a:gd name="T20" fmla="*/ 185 w 192"/>
                <a:gd name="T21" fmla="*/ 150 h 174"/>
                <a:gd name="T22" fmla="*/ 66 w 192"/>
                <a:gd name="T23" fmla="*/ 48 h 174"/>
                <a:gd name="T24" fmla="*/ 66 w 192"/>
                <a:gd name="T25" fmla="*/ 48 h 174"/>
                <a:gd name="T26" fmla="*/ 32 w 192"/>
                <a:gd name="T27" fmla="*/ 19 h 174"/>
                <a:gd name="T28" fmla="*/ 0 w 192"/>
                <a:gd name="T29" fmla="*/ 0 h 174"/>
                <a:gd name="T30" fmla="*/ 0 w 192"/>
                <a:gd name="T31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2" h="174">
                  <a:moveTo>
                    <a:pt x="0" y="0"/>
                  </a:moveTo>
                  <a:cubicBezTo>
                    <a:pt x="9" y="7"/>
                    <a:pt x="16" y="22"/>
                    <a:pt x="18" y="32"/>
                  </a:cubicBezTo>
                  <a:cubicBezTo>
                    <a:pt x="19" y="38"/>
                    <a:pt x="21" y="45"/>
                    <a:pt x="22" y="51"/>
                  </a:cubicBezTo>
                  <a:cubicBezTo>
                    <a:pt x="24" y="60"/>
                    <a:pt x="29" y="65"/>
                    <a:pt x="38" y="66"/>
                  </a:cubicBezTo>
                  <a:cubicBezTo>
                    <a:pt x="50" y="68"/>
                    <a:pt x="62" y="70"/>
                    <a:pt x="74" y="72"/>
                  </a:cubicBezTo>
                  <a:cubicBezTo>
                    <a:pt x="79" y="73"/>
                    <a:pt x="84" y="75"/>
                    <a:pt x="89" y="79"/>
                  </a:cubicBezTo>
                  <a:cubicBezTo>
                    <a:pt x="121" y="107"/>
                    <a:pt x="154" y="134"/>
                    <a:pt x="187" y="162"/>
                  </a:cubicBezTo>
                  <a:cubicBezTo>
                    <a:pt x="190" y="165"/>
                    <a:pt x="192" y="174"/>
                    <a:pt x="192" y="174"/>
                  </a:cubicBezTo>
                  <a:cubicBezTo>
                    <a:pt x="192" y="147"/>
                    <a:pt x="192" y="147"/>
                    <a:pt x="192" y="147"/>
                  </a:cubicBezTo>
                  <a:cubicBezTo>
                    <a:pt x="191" y="147"/>
                    <a:pt x="191" y="147"/>
                    <a:pt x="191" y="147"/>
                  </a:cubicBezTo>
                  <a:cubicBezTo>
                    <a:pt x="185" y="150"/>
                    <a:pt x="185" y="150"/>
                    <a:pt x="185" y="150"/>
                  </a:cubicBezTo>
                  <a:cubicBezTo>
                    <a:pt x="185" y="150"/>
                    <a:pt x="106" y="82"/>
                    <a:pt x="66" y="48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A95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任意多边形 97">
              <a:extLst>
                <a:ext uri="{FF2B5EF4-FFF2-40B4-BE49-F238E27FC236}">
                  <a16:creationId xmlns:a16="http://schemas.microsoft.com/office/drawing/2014/main" id="{65659DA7-6EE1-411E-BD2A-F7D611A8BDE0}"/>
                </a:ext>
              </a:extLst>
            </p:cNvPr>
            <p:cNvSpPr/>
            <p:nvPr/>
          </p:nvSpPr>
          <p:spPr bwMode="auto">
            <a:xfrm>
              <a:off x="4629151" y="3109913"/>
              <a:ext cx="398463" cy="341313"/>
            </a:xfrm>
            <a:custGeom>
              <a:avLst/>
              <a:gdLst>
                <a:gd name="T0" fmla="*/ 153 w 153"/>
                <a:gd name="T1" fmla="*/ 131 h 131"/>
                <a:gd name="T2" fmla="*/ 153 w 153"/>
                <a:gd name="T3" fmla="*/ 131 h 131"/>
                <a:gd name="T4" fmla="*/ 153 w 153"/>
                <a:gd name="T5" fmla="*/ 131 h 131"/>
                <a:gd name="T6" fmla="*/ 0 w 153"/>
                <a:gd name="T7" fmla="*/ 0 h 131"/>
                <a:gd name="T8" fmla="*/ 34 w 153"/>
                <a:gd name="T9" fmla="*/ 29 h 131"/>
                <a:gd name="T10" fmla="*/ 51 w 153"/>
                <a:gd name="T11" fmla="*/ 29 h 131"/>
                <a:gd name="T12" fmla="*/ 50 w 153"/>
                <a:gd name="T13" fmla="*/ 28 h 131"/>
                <a:gd name="T14" fmla="*/ 0 w 153"/>
                <a:gd name="T15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3" h="131">
                  <a:moveTo>
                    <a:pt x="153" y="131"/>
                  </a:moveTo>
                  <a:cubicBezTo>
                    <a:pt x="153" y="131"/>
                    <a:pt x="153" y="131"/>
                    <a:pt x="153" y="131"/>
                  </a:cubicBezTo>
                  <a:cubicBezTo>
                    <a:pt x="153" y="131"/>
                    <a:pt x="153" y="131"/>
                    <a:pt x="153" y="131"/>
                  </a:cubicBezTo>
                  <a:moveTo>
                    <a:pt x="0" y="0"/>
                  </a:moveTo>
                  <a:cubicBezTo>
                    <a:pt x="34" y="29"/>
                    <a:pt x="34" y="29"/>
                    <a:pt x="34" y="29"/>
                  </a:cubicBezTo>
                  <a:cubicBezTo>
                    <a:pt x="41" y="29"/>
                    <a:pt x="45" y="29"/>
                    <a:pt x="51" y="29"/>
                  </a:cubicBezTo>
                  <a:cubicBezTo>
                    <a:pt x="51" y="29"/>
                    <a:pt x="50" y="29"/>
                    <a:pt x="50" y="2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75B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椭圆 98">
              <a:extLst>
                <a:ext uri="{FF2B5EF4-FFF2-40B4-BE49-F238E27FC236}">
                  <a16:creationId xmlns:a16="http://schemas.microsoft.com/office/drawing/2014/main" id="{D02049B3-A2AE-4BAB-98C6-180D586FBE42}"/>
                </a:ext>
              </a:extLst>
            </p:cNvPr>
            <p:cNvSpPr/>
            <p:nvPr/>
          </p:nvSpPr>
          <p:spPr bwMode="auto">
            <a:xfrm>
              <a:off x="6008689" y="2738438"/>
              <a:ext cx="1588" cy="1588"/>
            </a:xfrm>
            <a:prstGeom prst="ellipse">
              <a:avLst/>
            </a:pr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任意多边形 99">
              <a:extLst>
                <a:ext uri="{FF2B5EF4-FFF2-40B4-BE49-F238E27FC236}">
                  <a16:creationId xmlns:a16="http://schemas.microsoft.com/office/drawing/2014/main" id="{A8F360EC-21F5-45BB-8FF7-072C0B1EC8AB}"/>
                </a:ext>
              </a:extLst>
            </p:cNvPr>
            <p:cNvSpPr/>
            <p:nvPr/>
          </p:nvSpPr>
          <p:spPr bwMode="auto">
            <a:xfrm>
              <a:off x="6008689" y="2738438"/>
              <a:ext cx="0" cy="152400"/>
            </a:xfrm>
            <a:custGeom>
              <a:avLst/>
              <a:gdLst>
                <a:gd name="T0" fmla="*/ 0 h 58"/>
                <a:gd name="T1" fmla="*/ 0 h 58"/>
                <a:gd name="T2" fmla="*/ 58 h 58"/>
                <a:gd name="T3" fmla="*/ 58 h 58"/>
                <a:gd name="T4" fmla="*/ 0 h 5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5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38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39"/>
                    <a:pt x="0" y="20"/>
                    <a:pt x="0" y="0"/>
                  </a:cubicBezTo>
                </a:path>
              </a:pathLst>
            </a:custGeom>
            <a:solidFill>
              <a:srgbClr val="7275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任意多边形 100">
              <a:extLst>
                <a:ext uri="{FF2B5EF4-FFF2-40B4-BE49-F238E27FC236}">
                  <a16:creationId xmlns:a16="http://schemas.microsoft.com/office/drawing/2014/main" id="{3C639743-4302-4CB4-BC81-D39886C805C7}"/>
                </a:ext>
              </a:extLst>
            </p:cNvPr>
            <p:cNvSpPr/>
            <p:nvPr/>
          </p:nvSpPr>
          <p:spPr bwMode="auto">
            <a:xfrm>
              <a:off x="6008689" y="2700338"/>
              <a:ext cx="0" cy="38100"/>
            </a:xfrm>
            <a:custGeom>
              <a:avLst/>
              <a:gdLst>
                <a:gd name="T0" fmla="*/ 0 h 15"/>
                <a:gd name="T1" fmla="*/ 0 h 15"/>
                <a:gd name="T2" fmla="*/ 15 h 15"/>
                <a:gd name="T3" fmla="*/ 15 h 15"/>
                <a:gd name="T4" fmla="*/ 0 h 1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10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0"/>
                    <a:pt x="0" y="5"/>
                    <a:pt x="0" y="0"/>
                  </a:cubicBezTo>
                </a:path>
              </a:pathLst>
            </a:custGeom>
            <a:solidFill>
              <a:srgbClr val="4864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任意多边形 101">
              <a:extLst>
                <a:ext uri="{FF2B5EF4-FFF2-40B4-BE49-F238E27FC236}">
                  <a16:creationId xmlns:a16="http://schemas.microsoft.com/office/drawing/2014/main" id="{7BEA4237-BCD1-46C5-98EA-14657D6AE80C}"/>
                </a:ext>
              </a:extLst>
            </p:cNvPr>
            <p:cNvSpPr/>
            <p:nvPr/>
          </p:nvSpPr>
          <p:spPr bwMode="auto">
            <a:xfrm>
              <a:off x="6005514" y="2955926"/>
              <a:ext cx="3175" cy="114300"/>
            </a:xfrm>
            <a:custGeom>
              <a:avLst/>
              <a:gdLst>
                <a:gd name="T0" fmla="*/ 0 w 1"/>
                <a:gd name="T1" fmla="*/ 44 h 44"/>
                <a:gd name="T2" fmla="*/ 0 w 1"/>
                <a:gd name="T3" fmla="*/ 44 h 44"/>
                <a:gd name="T4" fmla="*/ 0 w 1"/>
                <a:gd name="T5" fmla="*/ 44 h 44"/>
                <a:gd name="T6" fmla="*/ 0 w 1"/>
                <a:gd name="T7" fmla="*/ 44 h 44"/>
                <a:gd name="T8" fmla="*/ 0 w 1"/>
                <a:gd name="T9" fmla="*/ 44 h 44"/>
                <a:gd name="T10" fmla="*/ 1 w 1"/>
                <a:gd name="T11" fmla="*/ 0 h 44"/>
                <a:gd name="T12" fmla="*/ 0 w 1"/>
                <a:gd name="T13" fmla="*/ 0 h 44"/>
                <a:gd name="T14" fmla="*/ 0 w 1"/>
                <a:gd name="T15" fmla="*/ 0 h 44"/>
                <a:gd name="T16" fmla="*/ 1 w 1"/>
                <a:gd name="T17" fmla="*/ 0 h 44"/>
                <a:gd name="T18" fmla="*/ 1 w 1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44">
                  <a:moveTo>
                    <a:pt x="0" y="44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任意多边形 102">
              <a:extLst>
                <a:ext uri="{FF2B5EF4-FFF2-40B4-BE49-F238E27FC236}">
                  <a16:creationId xmlns:a16="http://schemas.microsoft.com/office/drawing/2014/main" id="{6A9C0F46-1C97-4125-A68C-0E710E215C85}"/>
                </a:ext>
              </a:extLst>
            </p:cNvPr>
            <p:cNvSpPr/>
            <p:nvPr/>
          </p:nvSpPr>
          <p:spPr bwMode="auto">
            <a:xfrm>
              <a:off x="6005514" y="3028951"/>
              <a:ext cx="3175" cy="41275"/>
            </a:xfrm>
            <a:custGeom>
              <a:avLst/>
              <a:gdLst>
                <a:gd name="T0" fmla="*/ 1 w 1"/>
                <a:gd name="T1" fmla="*/ 0 h 16"/>
                <a:gd name="T2" fmla="*/ 0 w 1"/>
                <a:gd name="T3" fmla="*/ 0 h 16"/>
                <a:gd name="T4" fmla="*/ 0 w 1"/>
                <a:gd name="T5" fmla="*/ 16 h 16"/>
                <a:gd name="T6" fmla="*/ 0 w 1"/>
                <a:gd name="T7" fmla="*/ 16 h 16"/>
                <a:gd name="T8" fmla="*/ 1 w 1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6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10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0"/>
                    <a:pt x="1" y="5"/>
                    <a:pt x="1" y="0"/>
                  </a:cubicBezTo>
                </a:path>
              </a:pathLst>
            </a:custGeom>
            <a:solidFill>
              <a:srgbClr val="5837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任意多边形 103">
              <a:extLst>
                <a:ext uri="{FF2B5EF4-FFF2-40B4-BE49-F238E27FC236}">
                  <a16:creationId xmlns:a16="http://schemas.microsoft.com/office/drawing/2014/main" id="{2BBE740C-82C5-4AF9-86FA-346763788640}"/>
                </a:ext>
              </a:extLst>
            </p:cNvPr>
            <p:cNvSpPr/>
            <p:nvPr/>
          </p:nvSpPr>
          <p:spPr bwMode="auto">
            <a:xfrm>
              <a:off x="6005514" y="2955926"/>
              <a:ext cx="3175" cy="73025"/>
            </a:xfrm>
            <a:custGeom>
              <a:avLst/>
              <a:gdLst>
                <a:gd name="T0" fmla="*/ 1 w 1"/>
                <a:gd name="T1" fmla="*/ 0 h 28"/>
                <a:gd name="T2" fmla="*/ 0 w 1"/>
                <a:gd name="T3" fmla="*/ 0 h 28"/>
                <a:gd name="T4" fmla="*/ 0 w 1"/>
                <a:gd name="T5" fmla="*/ 28 h 28"/>
                <a:gd name="T6" fmla="*/ 1 w 1"/>
                <a:gd name="T7" fmla="*/ 28 h 28"/>
                <a:gd name="T8" fmla="*/ 1 w 1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19"/>
                    <a:pt x="0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19"/>
                    <a:pt x="1" y="9"/>
                    <a:pt x="1" y="0"/>
                  </a:cubicBezTo>
                </a:path>
              </a:pathLst>
            </a:custGeom>
            <a:solidFill>
              <a:srgbClr val="7047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任意多边形 104">
              <a:extLst>
                <a:ext uri="{FF2B5EF4-FFF2-40B4-BE49-F238E27FC236}">
                  <a16:creationId xmlns:a16="http://schemas.microsoft.com/office/drawing/2014/main" id="{99922CFA-835E-4126-9E7F-6FDF3F331E85}"/>
                </a:ext>
              </a:extLst>
            </p:cNvPr>
            <p:cNvSpPr/>
            <p:nvPr/>
          </p:nvSpPr>
          <p:spPr bwMode="auto">
            <a:xfrm>
              <a:off x="6005514" y="2916238"/>
              <a:ext cx="3175" cy="39688"/>
            </a:xfrm>
            <a:custGeom>
              <a:avLst/>
              <a:gdLst>
                <a:gd name="T0" fmla="*/ 1 w 1"/>
                <a:gd name="T1" fmla="*/ 0 h 15"/>
                <a:gd name="T2" fmla="*/ 1 w 1"/>
                <a:gd name="T3" fmla="*/ 0 h 15"/>
                <a:gd name="T4" fmla="*/ 0 w 1"/>
                <a:gd name="T5" fmla="*/ 15 h 15"/>
                <a:gd name="T6" fmla="*/ 1 w 1"/>
                <a:gd name="T7" fmla="*/ 15 h 15"/>
                <a:gd name="T8" fmla="*/ 1 w 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5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5"/>
                    <a:pt x="0" y="10"/>
                    <a:pt x="0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0"/>
                    <a:pt x="1" y="5"/>
                    <a:pt x="1" y="0"/>
                  </a:cubicBezTo>
                </a:path>
              </a:pathLst>
            </a:custGeom>
            <a:solidFill>
              <a:srgbClr val="4864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任意多边形 105">
              <a:extLst>
                <a:ext uri="{FF2B5EF4-FFF2-40B4-BE49-F238E27FC236}">
                  <a16:creationId xmlns:a16="http://schemas.microsoft.com/office/drawing/2014/main" id="{9760E0EC-7600-4AC0-BAA3-689905909202}"/>
                </a:ext>
              </a:extLst>
            </p:cNvPr>
            <p:cNvSpPr/>
            <p:nvPr/>
          </p:nvSpPr>
          <p:spPr bwMode="auto">
            <a:xfrm>
              <a:off x="6005514" y="3070226"/>
              <a:ext cx="0" cy="52388"/>
            </a:xfrm>
            <a:custGeom>
              <a:avLst/>
              <a:gdLst>
                <a:gd name="T0" fmla="*/ 0 h 20"/>
                <a:gd name="T1" fmla="*/ 0 h 20"/>
                <a:gd name="T2" fmla="*/ 20 h 20"/>
                <a:gd name="T3" fmla="*/ 0 h 2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13"/>
                    <a:pt x="0" y="20"/>
                  </a:cubicBezTo>
                  <a:cubicBezTo>
                    <a:pt x="0" y="13"/>
                    <a:pt x="0" y="6"/>
                    <a:pt x="0" y="0"/>
                  </a:cubicBezTo>
                </a:path>
              </a:pathLst>
            </a:custGeom>
            <a:solidFill>
              <a:srgbClr val="7275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" name="任意多边形 106">
              <a:extLst>
                <a:ext uri="{FF2B5EF4-FFF2-40B4-BE49-F238E27FC236}">
                  <a16:creationId xmlns:a16="http://schemas.microsoft.com/office/drawing/2014/main" id="{161C3FF4-ED84-47B8-8B78-34D4B21FE4C6}"/>
                </a:ext>
              </a:extLst>
            </p:cNvPr>
            <p:cNvSpPr/>
            <p:nvPr/>
          </p:nvSpPr>
          <p:spPr bwMode="auto">
            <a:xfrm>
              <a:off x="4514851" y="2827338"/>
              <a:ext cx="679450" cy="531813"/>
            </a:xfrm>
            <a:custGeom>
              <a:avLst/>
              <a:gdLst>
                <a:gd name="T0" fmla="*/ 261 w 261"/>
                <a:gd name="T1" fmla="*/ 189 h 204"/>
                <a:gd name="T2" fmla="*/ 261 w 261"/>
                <a:gd name="T3" fmla="*/ 204 h 204"/>
                <a:gd name="T4" fmla="*/ 261 w 261"/>
                <a:gd name="T5" fmla="*/ 189 h 204"/>
                <a:gd name="T6" fmla="*/ 0 w 261"/>
                <a:gd name="T7" fmla="*/ 0 h 204"/>
                <a:gd name="T8" fmla="*/ 0 w 261"/>
                <a:gd name="T9" fmla="*/ 0 h 204"/>
                <a:gd name="T10" fmla="*/ 0 w 261"/>
                <a:gd name="T11" fmla="*/ 36 h 204"/>
                <a:gd name="T12" fmla="*/ 0 w 261"/>
                <a:gd name="T13" fmla="*/ 36 h 204"/>
                <a:gd name="T14" fmla="*/ 0 w 261"/>
                <a:gd name="T15" fmla="*/ 37 h 204"/>
                <a:gd name="T16" fmla="*/ 0 w 261"/>
                <a:gd name="T17" fmla="*/ 37 h 204"/>
                <a:gd name="T18" fmla="*/ 0 w 261"/>
                <a:gd name="T19" fmla="*/ 37 h 204"/>
                <a:gd name="T20" fmla="*/ 0 w 261"/>
                <a:gd name="T21" fmla="*/ 37 h 204"/>
                <a:gd name="T22" fmla="*/ 10 w 261"/>
                <a:gd name="T23" fmla="*/ 58 h 204"/>
                <a:gd name="T24" fmla="*/ 10 w 261"/>
                <a:gd name="T25" fmla="*/ 58 h 204"/>
                <a:gd name="T26" fmla="*/ 11 w 261"/>
                <a:gd name="T27" fmla="*/ 58 h 204"/>
                <a:gd name="T28" fmla="*/ 11 w 261"/>
                <a:gd name="T29" fmla="*/ 45 h 204"/>
                <a:gd name="T30" fmla="*/ 18 w 261"/>
                <a:gd name="T31" fmla="*/ 31 h 204"/>
                <a:gd name="T32" fmla="*/ 29 w 261"/>
                <a:gd name="T33" fmla="*/ 35 h 204"/>
                <a:gd name="T34" fmla="*/ 91 w 261"/>
                <a:gd name="T35" fmla="*/ 71 h 204"/>
                <a:gd name="T36" fmla="*/ 253 w 261"/>
                <a:gd name="T37" fmla="*/ 165 h 204"/>
                <a:gd name="T38" fmla="*/ 261 w 261"/>
                <a:gd name="T39" fmla="*/ 173 h 204"/>
                <a:gd name="T40" fmla="*/ 261 w 261"/>
                <a:gd name="T41" fmla="*/ 146 h 204"/>
                <a:gd name="T42" fmla="*/ 261 w 261"/>
                <a:gd name="T43" fmla="*/ 146 h 204"/>
                <a:gd name="T44" fmla="*/ 258 w 261"/>
                <a:gd name="T45" fmla="*/ 148 h 204"/>
                <a:gd name="T46" fmla="*/ 258 w 261"/>
                <a:gd name="T47" fmla="*/ 148 h 204"/>
                <a:gd name="T48" fmla="*/ 258 w 261"/>
                <a:gd name="T49" fmla="*/ 148 h 204"/>
                <a:gd name="T50" fmla="*/ 258 w 261"/>
                <a:gd name="T51" fmla="*/ 148 h 204"/>
                <a:gd name="T52" fmla="*/ 242 w 261"/>
                <a:gd name="T53" fmla="*/ 139 h 204"/>
                <a:gd name="T54" fmla="*/ 9 w 261"/>
                <a:gd name="T55" fmla="*/ 5 h 204"/>
                <a:gd name="T56" fmla="*/ 0 w 261"/>
                <a:gd name="T5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1" h="204">
                  <a:moveTo>
                    <a:pt x="261" y="189"/>
                  </a:moveTo>
                  <a:cubicBezTo>
                    <a:pt x="261" y="196"/>
                    <a:pt x="261" y="204"/>
                    <a:pt x="261" y="204"/>
                  </a:cubicBezTo>
                  <a:cubicBezTo>
                    <a:pt x="261" y="189"/>
                    <a:pt x="261" y="189"/>
                    <a:pt x="261" y="189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4"/>
                    <a:pt x="4" y="53"/>
                    <a:pt x="1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8"/>
                    <a:pt x="11" y="58"/>
                  </a:cubicBezTo>
                  <a:cubicBezTo>
                    <a:pt x="11" y="53"/>
                    <a:pt x="11" y="49"/>
                    <a:pt x="11" y="45"/>
                  </a:cubicBezTo>
                  <a:cubicBezTo>
                    <a:pt x="11" y="36"/>
                    <a:pt x="13" y="31"/>
                    <a:pt x="18" y="31"/>
                  </a:cubicBezTo>
                  <a:cubicBezTo>
                    <a:pt x="20" y="31"/>
                    <a:pt x="24" y="33"/>
                    <a:pt x="29" y="35"/>
                  </a:cubicBezTo>
                  <a:cubicBezTo>
                    <a:pt x="49" y="47"/>
                    <a:pt x="70" y="59"/>
                    <a:pt x="91" y="71"/>
                  </a:cubicBezTo>
                  <a:cubicBezTo>
                    <a:pt x="145" y="102"/>
                    <a:pt x="199" y="134"/>
                    <a:pt x="253" y="165"/>
                  </a:cubicBezTo>
                  <a:cubicBezTo>
                    <a:pt x="257" y="167"/>
                    <a:pt x="260" y="169"/>
                    <a:pt x="261" y="173"/>
                  </a:cubicBezTo>
                  <a:cubicBezTo>
                    <a:pt x="261" y="146"/>
                    <a:pt x="261" y="146"/>
                    <a:pt x="261" y="146"/>
                  </a:cubicBezTo>
                  <a:cubicBezTo>
                    <a:pt x="261" y="146"/>
                    <a:pt x="261" y="146"/>
                    <a:pt x="261" y="146"/>
                  </a:cubicBezTo>
                  <a:cubicBezTo>
                    <a:pt x="258" y="148"/>
                    <a:pt x="258" y="148"/>
                    <a:pt x="258" y="148"/>
                  </a:cubicBezTo>
                  <a:cubicBezTo>
                    <a:pt x="258" y="148"/>
                    <a:pt x="258" y="148"/>
                    <a:pt x="258" y="148"/>
                  </a:cubicBezTo>
                  <a:cubicBezTo>
                    <a:pt x="258" y="148"/>
                    <a:pt x="258" y="148"/>
                    <a:pt x="258" y="148"/>
                  </a:cubicBezTo>
                  <a:cubicBezTo>
                    <a:pt x="258" y="148"/>
                    <a:pt x="258" y="148"/>
                    <a:pt x="258" y="148"/>
                  </a:cubicBezTo>
                  <a:cubicBezTo>
                    <a:pt x="258" y="148"/>
                    <a:pt x="247" y="142"/>
                    <a:pt x="242" y="139"/>
                  </a:cubicBezTo>
                  <a:cubicBezTo>
                    <a:pt x="165" y="95"/>
                    <a:pt x="87" y="50"/>
                    <a:pt x="9" y="5"/>
                  </a:cubicBezTo>
                  <a:cubicBezTo>
                    <a:pt x="6" y="3"/>
                    <a:pt x="3" y="1"/>
                    <a:pt x="0" y="0"/>
                  </a:cubicBezTo>
                </a:path>
              </a:pathLst>
            </a:custGeom>
            <a:solidFill>
              <a:srgbClr val="9A95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任意多边形 107">
              <a:extLst>
                <a:ext uri="{FF2B5EF4-FFF2-40B4-BE49-F238E27FC236}">
                  <a16:creationId xmlns:a16="http://schemas.microsoft.com/office/drawing/2014/main" id="{1F1E50E8-3601-4635-8431-F4A6CADE50A2}"/>
                </a:ext>
              </a:extLst>
            </p:cNvPr>
            <p:cNvSpPr/>
            <p:nvPr/>
          </p:nvSpPr>
          <p:spPr bwMode="auto">
            <a:xfrm>
              <a:off x="4483101" y="2825751"/>
              <a:ext cx="1525588" cy="539750"/>
            </a:xfrm>
            <a:custGeom>
              <a:avLst/>
              <a:gdLst>
                <a:gd name="T0" fmla="*/ 575 w 585"/>
                <a:gd name="T1" fmla="*/ 31 h 207"/>
                <a:gd name="T2" fmla="*/ 273 w 585"/>
                <a:gd name="T3" fmla="*/ 205 h 207"/>
                <a:gd name="T4" fmla="*/ 288 w 585"/>
                <a:gd name="T5" fmla="*/ 206 h 207"/>
                <a:gd name="T6" fmla="*/ 285 w 585"/>
                <a:gd name="T7" fmla="*/ 207 h 207"/>
                <a:gd name="T8" fmla="*/ 574 w 585"/>
                <a:gd name="T9" fmla="*/ 40 h 207"/>
                <a:gd name="T10" fmla="*/ 575 w 585"/>
                <a:gd name="T11" fmla="*/ 31 h 207"/>
                <a:gd name="T12" fmla="*/ 585 w 585"/>
                <a:gd name="T13" fmla="*/ 25 h 207"/>
                <a:gd name="T14" fmla="*/ 585 w 585"/>
                <a:gd name="T15" fmla="*/ 25 h 207"/>
                <a:gd name="T16" fmla="*/ 585 w 585"/>
                <a:gd name="T17" fmla="*/ 35 h 207"/>
                <a:gd name="T18" fmla="*/ 585 w 585"/>
                <a:gd name="T19" fmla="*/ 35 h 207"/>
                <a:gd name="T20" fmla="*/ 585 w 585"/>
                <a:gd name="T21" fmla="*/ 25 h 207"/>
                <a:gd name="T22" fmla="*/ 8 w 585"/>
                <a:gd name="T23" fmla="*/ 0 h 207"/>
                <a:gd name="T24" fmla="*/ 3 w 585"/>
                <a:gd name="T25" fmla="*/ 2 h 207"/>
                <a:gd name="T26" fmla="*/ 0 w 585"/>
                <a:gd name="T27" fmla="*/ 10 h 207"/>
                <a:gd name="T28" fmla="*/ 0 w 585"/>
                <a:gd name="T29" fmla="*/ 40 h 207"/>
                <a:gd name="T30" fmla="*/ 0 w 585"/>
                <a:gd name="T31" fmla="*/ 40 h 207"/>
                <a:gd name="T32" fmla="*/ 0 w 585"/>
                <a:gd name="T33" fmla="*/ 40 h 207"/>
                <a:gd name="T34" fmla="*/ 0 w 585"/>
                <a:gd name="T35" fmla="*/ 45 h 207"/>
                <a:gd name="T36" fmla="*/ 1 w 585"/>
                <a:gd name="T37" fmla="*/ 52 h 207"/>
                <a:gd name="T38" fmla="*/ 1 w 585"/>
                <a:gd name="T39" fmla="*/ 52 h 207"/>
                <a:gd name="T40" fmla="*/ 22 w 585"/>
                <a:gd name="T41" fmla="*/ 59 h 207"/>
                <a:gd name="T42" fmla="*/ 12 w 585"/>
                <a:gd name="T43" fmla="*/ 38 h 207"/>
                <a:gd name="T44" fmla="*/ 12 w 585"/>
                <a:gd name="T45" fmla="*/ 38 h 207"/>
                <a:gd name="T46" fmla="*/ 12 w 585"/>
                <a:gd name="T47" fmla="*/ 38 h 207"/>
                <a:gd name="T48" fmla="*/ 12 w 585"/>
                <a:gd name="T49" fmla="*/ 38 h 207"/>
                <a:gd name="T50" fmla="*/ 12 w 585"/>
                <a:gd name="T51" fmla="*/ 37 h 207"/>
                <a:gd name="T52" fmla="*/ 12 w 585"/>
                <a:gd name="T53" fmla="*/ 37 h 207"/>
                <a:gd name="T54" fmla="*/ 12 w 585"/>
                <a:gd name="T55" fmla="*/ 1 h 207"/>
                <a:gd name="T56" fmla="*/ 12 w 585"/>
                <a:gd name="T57" fmla="*/ 1 h 207"/>
                <a:gd name="T58" fmla="*/ 11 w 585"/>
                <a:gd name="T59" fmla="*/ 0 h 207"/>
                <a:gd name="T60" fmla="*/ 8 w 585"/>
                <a:gd name="T61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85" h="207">
                  <a:moveTo>
                    <a:pt x="575" y="31"/>
                  </a:moveTo>
                  <a:cubicBezTo>
                    <a:pt x="273" y="205"/>
                    <a:pt x="273" y="205"/>
                    <a:pt x="273" y="205"/>
                  </a:cubicBezTo>
                  <a:cubicBezTo>
                    <a:pt x="273" y="205"/>
                    <a:pt x="282" y="205"/>
                    <a:pt x="288" y="206"/>
                  </a:cubicBezTo>
                  <a:cubicBezTo>
                    <a:pt x="287" y="206"/>
                    <a:pt x="286" y="207"/>
                    <a:pt x="285" y="207"/>
                  </a:cubicBezTo>
                  <a:cubicBezTo>
                    <a:pt x="574" y="40"/>
                    <a:pt x="574" y="40"/>
                    <a:pt x="574" y="40"/>
                  </a:cubicBezTo>
                  <a:cubicBezTo>
                    <a:pt x="575" y="31"/>
                    <a:pt x="575" y="31"/>
                    <a:pt x="575" y="31"/>
                  </a:cubicBezTo>
                  <a:moveTo>
                    <a:pt x="585" y="25"/>
                  </a:moveTo>
                  <a:cubicBezTo>
                    <a:pt x="585" y="25"/>
                    <a:pt x="585" y="25"/>
                    <a:pt x="585" y="25"/>
                  </a:cubicBezTo>
                  <a:cubicBezTo>
                    <a:pt x="585" y="28"/>
                    <a:pt x="585" y="32"/>
                    <a:pt x="585" y="35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5" y="31"/>
                    <a:pt x="585" y="28"/>
                    <a:pt x="585" y="25"/>
                  </a:cubicBezTo>
                  <a:moveTo>
                    <a:pt x="8" y="0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1" y="4"/>
                    <a:pt x="0" y="7"/>
                    <a:pt x="0" y="1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7"/>
                    <a:pt x="1" y="49"/>
                    <a:pt x="1" y="5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7" y="56"/>
                    <a:pt x="13" y="59"/>
                    <a:pt x="22" y="59"/>
                  </a:cubicBezTo>
                  <a:cubicBezTo>
                    <a:pt x="16" y="54"/>
                    <a:pt x="12" y="45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1" y="1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</a:path>
              </a:pathLst>
            </a:custGeom>
            <a:solidFill>
              <a:srgbClr val="6D8A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" name="任意多边形 108">
              <a:extLst>
                <a:ext uri="{FF2B5EF4-FFF2-40B4-BE49-F238E27FC236}">
                  <a16:creationId xmlns:a16="http://schemas.microsoft.com/office/drawing/2014/main" id="{098EA35E-5BF2-4F63-A6CF-388C94824844}"/>
                </a:ext>
              </a:extLst>
            </p:cNvPr>
            <p:cNvSpPr/>
            <p:nvPr/>
          </p:nvSpPr>
          <p:spPr bwMode="auto">
            <a:xfrm>
              <a:off x="4811714" y="3440113"/>
              <a:ext cx="4763" cy="36513"/>
            </a:xfrm>
            <a:custGeom>
              <a:avLst/>
              <a:gdLst>
                <a:gd name="T0" fmla="*/ 0 w 2"/>
                <a:gd name="T1" fmla="*/ 11 h 14"/>
                <a:gd name="T2" fmla="*/ 0 w 2"/>
                <a:gd name="T3" fmla="*/ 14 h 14"/>
                <a:gd name="T4" fmla="*/ 0 w 2"/>
                <a:gd name="T5" fmla="*/ 14 h 14"/>
                <a:gd name="T6" fmla="*/ 0 w 2"/>
                <a:gd name="T7" fmla="*/ 11 h 14"/>
                <a:gd name="T8" fmla="*/ 2 w 2"/>
                <a:gd name="T9" fmla="*/ 0 h 14"/>
                <a:gd name="T10" fmla="*/ 1 w 2"/>
                <a:gd name="T11" fmla="*/ 3 h 14"/>
                <a:gd name="T12" fmla="*/ 2 w 2"/>
                <a:gd name="T13" fmla="*/ 1 h 14"/>
                <a:gd name="T14" fmla="*/ 2 w 2"/>
                <a:gd name="T15" fmla="*/ 1 h 14"/>
                <a:gd name="T16" fmla="*/ 2 w 2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14">
                  <a:moveTo>
                    <a:pt x="0" y="11"/>
                  </a:moveTo>
                  <a:cubicBezTo>
                    <a:pt x="0" y="12"/>
                    <a:pt x="0" y="13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2"/>
                    <a:pt x="0" y="11"/>
                  </a:cubicBezTo>
                  <a:moveTo>
                    <a:pt x="2" y="0"/>
                  </a:moveTo>
                  <a:cubicBezTo>
                    <a:pt x="2" y="1"/>
                    <a:pt x="1" y="2"/>
                    <a:pt x="1" y="3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solidFill>
              <a:srgbClr val="C5B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" name="任意多边形 109">
              <a:extLst>
                <a:ext uri="{FF2B5EF4-FFF2-40B4-BE49-F238E27FC236}">
                  <a16:creationId xmlns:a16="http://schemas.microsoft.com/office/drawing/2014/main" id="{E3EA48E7-DF14-4FDF-8067-CCA96965603E}"/>
                </a:ext>
              </a:extLst>
            </p:cNvPr>
            <p:cNvSpPr/>
            <p:nvPr/>
          </p:nvSpPr>
          <p:spPr bwMode="auto">
            <a:xfrm>
              <a:off x="4811714" y="3476626"/>
              <a:ext cx="33338" cy="36513"/>
            </a:xfrm>
            <a:custGeom>
              <a:avLst/>
              <a:gdLst>
                <a:gd name="T0" fmla="*/ 0 w 13"/>
                <a:gd name="T1" fmla="*/ 0 h 14"/>
                <a:gd name="T2" fmla="*/ 0 w 13"/>
                <a:gd name="T3" fmla="*/ 0 h 14"/>
                <a:gd name="T4" fmla="*/ 3 w 13"/>
                <a:gd name="T5" fmla="*/ 13 h 14"/>
                <a:gd name="T6" fmla="*/ 1 w 13"/>
                <a:gd name="T7" fmla="*/ 14 h 14"/>
                <a:gd name="T8" fmla="*/ 13 w 13"/>
                <a:gd name="T9" fmla="*/ 12 h 14"/>
                <a:gd name="T10" fmla="*/ 13 w 13"/>
                <a:gd name="T11" fmla="*/ 12 h 14"/>
                <a:gd name="T12" fmla="*/ 0 w 13"/>
                <a:gd name="T13" fmla="*/ 1 h 14"/>
                <a:gd name="T14" fmla="*/ 0 w 13"/>
                <a:gd name="T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1" y="8"/>
                    <a:pt x="3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4" y="14"/>
                    <a:pt x="8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B5AD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" name="任意多边形 110">
              <a:extLst>
                <a:ext uri="{FF2B5EF4-FFF2-40B4-BE49-F238E27FC236}">
                  <a16:creationId xmlns:a16="http://schemas.microsoft.com/office/drawing/2014/main" id="{221F09AA-0ECD-40D1-8F38-F423DBF8C9BC}"/>
                </a:ext>
              </a:extLst>
            </p:cNvPr>
            <p:cNvSpPr/>
            <p:nvPr/>
          </p:nvSpPr>
          <p:spPr bwMode="auto">
            <a:xfrm>
              <a:off x="4816476" y="3414713"/>
              <a:ext cx="65088" cy="53975"/>
            </a:xfrm>
            <a:custGeom>
              <a:avLst/>
              <a:gdLst>
                <a:gd name="T0" fmla="*/ 6 w 25"/>
                <a:gd name="T1" fmla="*/ 0 h 21"/>
                <a:gd name="T2" fmla="*/ 0 w 25"/>
                <a:gd name="T3" fmla="*/ 10 h 21"/>
                <a:gd name="T4" fmla="*/ 0 w 25"/>
                <a:gd name="T5" fmla="*/ 11 h 21"/>
                <a:gd name="T6" fmla="*/ 11 w 25"/>
                <a:gd name="T7" fmla="*/ 21 h 21"/>
                <a:gd name="T8" fmla="*/ 25 w 25"/>
                <a:gd name="T9" fmla="*/ 16 h 21"/>
                <a:gd name="T10" fmla="*/ 6 w 25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1">
                  <a:moveTo>
                    <a:pt x="6" y="0"/>
                  </a:moveTo>
                  <a:cubicBezTo>
                    <a:pt x="4" y="3"/>
                    <a:pt x="1" y="6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6" y="19"/>
                    <a:pt x="20" y="17"/>
                    <a:pt x="25" y="16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7D51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" name="任意多边形 111">
              <a:extLst>
                <a:ext uri="{FF2B5EF4-FFF2-40B4-BE49-F238E27FC236}">
                  <a16:creationId xmlns:a16="http://schemas.microsoft.com/office/drawing/2014/main" id="{A456F947-E514-4AB8-91E6-617836488C08}"/>
                </a:ext>
              </a:extLst>
            </p:cNvPr>
            <p:cNvSpPr/>
            <p:nvPr/>
          </p:nvSpPr>
          <p:spPr bwMode="auto">
            <a:xfrm>
              <a:off x="4832351" y="3382963"/>
              <a:ext cx="49213" cy="73025"/>
            </a:xfrm>
            <a:custGeom>
              <a:avLst/>
              <a:gdLst>
                <a:gd name="T0" fmla="*/ 15 w 19"/>
                <a:gd name="T1" fmla="*/ 0 h 28"/>
                <a:gd name="T2" fmla="*/ 15 w 19"/>
                <a:gd name="T3" fmla="*/ 0 h 28"/>
                <a:gd name="T4" fmla="*/ 15 w 19"/>
                <a:gd name="T5" fmla="*/ 0 h 28"/>
                <a:gd name="T6" fmla="*/ 15 w 19"/>
                <a:gd name="T7" fmla="*/ 0 h 28"/>
                <a:gd name="T8" fmla="*/ 15 w 19"/>
                <a:gd name="T9" fmla="*/ 2 h 28"/>
                <a:gd name="T10" fmla="*/ 15 w 19"/>
                <a:gd name="T11" fmla="*/ 2 h 28"/>
                <a:gd name="T12" fmla="*/ 15 w 19"/>
                <a:gd name="T13" fmla="*/ 2 h 28"/>
                <a:gd name="T14" fmla="*/ 15 w 19"/>
                <a:gd name="T15" fmla="*/ 2 h 28"/>
                <a:gd name="T16" fmla="*/ 0 w 19"/>
                <a:gd name="T17" fmla="*/ 12 h 28"/>
                <a:gd name="T18" fmla="*/ 19 w 19"/>
                <a:gd name="T19" fmla="*/ 28 h 28"/>
                <a:gd name="T20" fmla="*/ 19 w 19"/>
                <a:gd name="T21" fmla="*/ 27 h 28"/>
                <a:gd name="T22" fmla="*/ 15 w 19"/>
                <a:gd name="T2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28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"/>
                    <a:pt x="15" y="1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9" y="5"/>
                    <a:pt x="4" y="8"/>
                    <a:pt x="0" y="12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6" y="18"/>
                    <a:pt x="19" y="7"/>
                    <a:pt x="15" y="0"/>
                  </a:cubicBezTo>
                </a:path>
              </a:pathLst>
            </a:custGeom>
            <a:solidFill>
              <a:srgbClr val="ACA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" name="任意多边形 112">
              <a:extLst>
                <a:ext uri="{FF2B5EF4-FFF2-40B4-BE49-F238E27FC236}">
                  <a16:creationId xmlns:a16="http://schemas.microsoft.com/office/drawing/2014/main" id="{579B3E62-28F6-4A7F-9B58-BCB97711A471}"/>
                </a:ext>
              </a:extLst>
            </p:cNvPr>
            <p:cNvSpPr/>
            <p:nvPr/>
          </p:nvSpPr>
          <p:spPr bwMode="auto">
            <a:xfrm>
              <a:off x="4811714" y="3443288"/>
              <a:ext cx="33338" cy="65088"/>
            </a:xfrm>
            <a:custGeom>
              <a:avLst/>
              <a:gdLst>
                <a:gd name="T0" fmla="*/ 2 w 13"/>
                <a:gd name="T1" fmla="*/ 0 h 25"/>
                <a:gd name="T2" fmla="*/ 1 w 13"/>
                <a:gd name="T3" fmla="*/ 2 h 25"/>
                <a:gd name="T4" fmla="*/ 0 w 13"/>
                <a:gd name="T5" fmla="*/ 10 h 25"/>
                <a:gd name="T6" fmla="*/ 0 w 13"/>
                <a:gd name="T7" fmla="*/ 13 h 25"/>
                <a:gd name="T8" fmla="*/ 0 w 13"/>
                <a:gd name="T9" fmla="*/ 14 h 25"/>
                <a:gd name="T10" fmla="*/ 13 w 13"/>
                <a:gd name="T11" fmla="*/ 25 h 25"/>
                <a:gd name="T12" fmla="*/ 13 w 13"/>
                <a:gd name="T13" fmla="*/ 10 h 25"/>
                <a:gd name="T14" fmla="*/ 13 w 13"/>
                <a:gd name="T15" fmla="*/ 10 h 25"/>
                <a:gd name="T16" fmla="*/ 2 w 13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5">
                  <a:moveTo>
                    <a:pt x="2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0" y="5"/>
                    <a:pt x="0" y="7"/>
                    <a:pt x="0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19"/>
                    <a:pt x="13" y="14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9768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" name="任意多边形 113">
              <a:extLst>
                <a:ext uri="{FF2B5EF4-FFF2-40B4-BE49-F238E27FC236}">
                  <a16:creationId xmlns:a16="http://schemas.microsoft.com/office/drawing/2014/main" id="{72F93678-C373-4C3A-A2CA-CA3F63FBFCFA}"/>
                </a:ext>
              </a:extLst>
            </p:cNvPr>
            <p:cNvSpPr/>
            <p:nvPr/>
          </p:nvSpPr>
          <p:spPr bwMode="auto">
            <a:xfrm>
              <a:off x="4811714" y="3382963"/>
              <a:ext cx="60325" cy="60325"/>
            </a:xfrm>
            <a:custGeom>
              <a:avLst/>
              <a:gdLst>
                <a:gd name="T0" fmla="*/ 23 w 23"/>
                <a:gd name="T1" fmla="*/ 0 h 23"/>
                <a:gd name="T2" fmla="*/ 0 w 23"/>
                <a:gd name="T3" fmla="*/ 23 h 23"/>
                <a:gd name="T4" fmla="*/ 23 w 23"/>
                <a:gd name="T5" fmla="*/ 0 h 23"/>
                <a:gd name="T6" fmla="*/ 23 w 23"/>
                <a:gd name="T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3">
                  <a:moveTo>
                    <a:pt x="23" y="0"/>
                  </a:moveTo>
                  <a:cubicBezTo>
                    <a:pt x="11" y="5"/>
                    <a:pt x="3" y="13"/>
                    <a:pt x="0" y="23"/>
                  </a:cubicBezTo>
                  <a:cubicBezTo>
                    <a:pt x="3" y="13"/>
                    <a:pt x="11" y="6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A266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" name="任意多边形 114">
              <a:extLst>
                <a:ext uri="{FF2B5EF4-FFF2-40B4-BE49-F238E27FC236}">
                  <a16:creationId xmlns:a16="http://schemas.microsoft.com/office/drawing/2014/main" id="{E1A85D62-03F9-467B-AD30-A3EA55AA5288}"/>
                </a:ext>
              </a:extLst>
            </p:cNvPr>
            <p:cNvSpPr/>
            <p:nvPr/>
          </p:nvSpPr>
          <p:spPr bwMode="auto">
            <a:xfrm>
              <a:off x="4803776" y="3382963"/>
              <a:ext cx="68263" cy="130175"/>
            </a:xfrm>
            <a:custGeom>
              <a:avLst/>
              <a:gdLst>
                <a:gd name="T0" fmla="*/ 26 w 26"/>
                <a:gd name="T1" fmla="*/ 0 h 50"/>
                <a:gd name="T2" fmla="*/ 26 w 26"/>
                <a:gd name="T3" fmla="*/ 0 h 50"/>
                <a:gd name="T4" fmla="*/ 3 w 26"/>
                <a:gd name="T5" fmla="*/ 23 h 50"/>
                <a:gd name="T6" fmla="*/ 4 w 26"/>
                <a:gd name="T7" fmla="*/ 50 h 50"/>
                <a:gd name="T8" fmla="*/ 4 w 26"/>
                <a:gd name="T9" fmla="*/ 50 h 50"/>
                <a:gd name="T10" fmla="*/ 6 w 26"/>
                <a:gd name="T11" fmla="*/ 49 h 50"/>
                <a:gd name="T12" fmla="*/ 3 w 26"/>
                <a:gd name="T13" fmla="*/ 36 h 50"/>
                <a:gd name="T14" fmla="*/ 3 w 26"/>
                <a:gd name="T15" fmla="*/ 33 h 50"/>
                <a:gd name="T16" fmla="*/ 4 w 26"/>
                <a:gd name="T17" fmla="*/ 25 h 50"/>
                <a:gd name="T18" fmla="*/ 5 w 26"/>
                <a:gd name="T19" fmla="*/ 22 h 50"/>
                <a:gd name="T20" fmla="*/ 11 w 26"/>
                <a:gd name="T21" fmla="*/ 12 h 50"/>
                <a:gd name="T22" fmla="*/ 11 w 26"/>
                <a:gd name="T23" fmla="*/ 12 h 50"/>
                <a:gd name="T24" fmla="*/ 26 w 26"/>
                <a:gd name="T25" fmla="*/ 2 h 50"/>
                <a:gd name="T26" fmla="*/ 26 w 26"/>
                <a:gd name="T27" fmla="*/ 2 h 50"/>
                <a:gd name="T28" fmla="*/ 26 w 26"/>
                <a:gd name="T29" fmla="*/ 2 h 50"/>
                <a:gd name="T30" fmla="*/ 26 w 26"/>
                <a:gd name="T3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50">
                  <a:moveTo>
                    <a:pt x="26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4" y="6"/>
                    <a:pt x="6" y="13"/>
                    <a:pt x="3" y="23"/>
                  </a:cubicBezTo>
                  <a:cubicBezTo>
                    <a:pt x="0" y="31"/>
                    <a:pt x="0" y="40"/>
                    <a:pt x="4" y="50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4" y="44"/>
                    <a:pt x="3" y="40"/>
                    <a:pt x="3" y="36"/>
                  </a:cubicBezTo>
                  <a:cubicBezTo>
                    <a:pt x="3" y="35"/>
                    <a:pt x="3" y="34"/>
                    <a:pt x="3" y="33"/>
                  </a:cubicBezTo>
                  <a:cubicBezTo>
                    <a:pt x="3" y="30"/>
                    <a:pt x="3" y="28"/>
                    <a:pt x="4" y="25"/>
                  </a:cubicBezTo>
                  <a:cubicBezTo>
                    <a:pt x="4" y="24"/>
                    <a:pt x="5" y="23"/>
                    <a:pt x="5" y="22"/>
                  </a:cubicBezTo>
                  <a:cubicBezTo>
                    <a:pt x="6" y="18"/>
                    <a:pt x="9" y="15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5" y="8"/>
                    <a:pt x="20" y="5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1"/>
                    <a:pt x="26" y="1"/>
                    <a:pt x="26" y="0"/>
                  </a:cubicBezTo>
                </a:path>
              </a:pathLst>
            </a:custGeom>
            <a:solidFill>
              <a:srgbClr val="9B44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" name="任意多边形 115">
              <a:extLst>
                <a:ext uri="{FF2B5EF4-FFF2-40B4-BE49-F238E27FC236}">
                  <a16:creationId xmlns:a16="http://schemas.microsoft.com/office/drawing/2014/main" id="{B5622D42-70F3-45AD-A496-D132627A393D}"/>
                </a:ext>
              </a:extLst>
            </p:cNvPr>
            <p:cNvSpPr/>
            <p:nvPr/>
          </p:nvSpPr>
          <p:spPr bwMode="auto">
            <a:xfrm>
              <a:off x="4475164" y="3016251"/>
              <a:ext cx="69850" cy="44450"/>
            </a:xfrm>
            <a:custGeom>
              <a:avLst/>
              <a:gdLst>
                <a:gd name="T0" fmla="*/ 0 w 27"/>
                <a:gd name="T1" fmla="*/ 0 h 17"/>
                <a:gd name="T2" fmla="*/ 0 w 27"/>
                <a:gd name="T3" fmla="*/ 0 h 17"/>
                <a:gd name="T4" fmla="*/ 0 w 27"/>
                <a:gd name="T5" fmla="*/ 0 h 17"/>
                <a:gd name="T6" fmla="*/ 0 w 27"/>
                <a:gd name="T7" fmla="*/ 0 h 17"/>
                <a:gd name="T8" fmla="*/ 0 w 27"/>
                <a:gd name="T9" fmla="*/ 0 h 17"/>
                <a:gd name="T10" fmla="*/ 13 w 27"/>
                <a:gd name="T11" fmla="*/ 9 h 17"/>
                <a:gd name="T12" fmla="*/ 13 w 27"/>
                <a:gd name="T13" fmla="*/ 9 h 17"/>
                <a:gd name="T14" fmla="*/ 27 w 27"/>
                <a:gd name="T15" fmla="*/ 17 h 17"/>
                <a:gd name="T16" fmla="*/ 0 w 27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3"/>
                    <a:pt x="4" y="4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18" y="9"/>
                    <a:pt x="7" y="1"/>
                    <a:pt x="0" y="0"/>
                  </a:cubicBezTo>
                </a:path>
              </a:pathLst>
            </a:custGeom>
            <a:solidFill>
              <a:srgbClr val="C5B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" name="任意多边形 116">
              <a:extLst>
                <a:ext uri="{FF2B5EF4-FFF2-40B4-BE49-F238E27FC236}">
                  <a16:creationId xmlns:a16="http://schemas.microsoft.com/office/drawing/2014/main" id="{05CE131F-8214-4E8A-BDB3-C5538FF9273C}"/>
                </a:ext>
              </a:extLst>
            </p:cNvPr>
            <p:cNvSpPr/>
            <p:nvPr/>
          </p:nvSpPr>
          <p:spPr bwMode="auto">
            <a:xfrm>
              <a:off x="4508501" y="3038476"/>
              <a:ext cx="36513" cy="115888"/>
            </a:xfrm>
            <a:custGeom>
              <a:avLst/>
              <a:gdLst>
                <a:gd name="T0" fmla="*/ 0 w 14"/>
                <a:gd name="T1" fmla="*/ 0 h 44"/>
                <a:gd name="T2" fmla="*/ 0 w 14"/>
                <a:gd name="T3" fmla="*/ 21 h 44"/>
                <a:gd name="T4" fmla="*/ 8 w 14"/>
                <a:gd name="T5" fmla="*/ 44 h 44"/>
                <a:gd name="T6" fmla="*/ 8 w 14"/>
                <a:gd name="T7" fmla="*/ 44 h 44"/>
                <a:gd name="T8" fmla="*/ 14 w 14"/>
                <a:gd name="T9" fmla="*/ 8 h 44"/>
                <a:gd name="T10" fmla="*/ 14 w 14"/>
                <a:gd name="T11" fmla="*/ 8 h 44"/>
                <a:gd name="T12" fmla="*/ 0 w 14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4">
                  <a:moveTo>
                    <a:pt x="0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28"/>
                    <a:pt x="3" y="38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7" y="28"/>
                    <a:pt x="2" y="16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CA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" name="任意多边形 117">
              <a:extLst>
                <a:ext uri="{FF2B5EF4-FFF2-40B4-BE49-F238E27FC236}">
                  <a16:creationId xmlns:a16="http://schemas.microsoft.com/office/drawing/2014/main" id="{E6222F14-F14F-435E-B157-1C8ECEA4EB34}"/>
                </a:ext>
              </a:extLst>
            </p:cNvPr>
            <p:cNvSpPr/>
            <p:nvPr/>
          </p:nvSpPr>
          <p:spPr bwMode="auto">
            <a:xfrm>
              <a:off x="4471989" y="3016251"/>
              <a:ext cx="58738" cy="138113"/>
            </a:xfrm>
            <a:custGeom>
              <a:avLst/>
              <a:gdLst>
                <a:gd name="T0" fmla="*/ 1 w 22"/>
                <a:gd name="T1" fmla="*/ 0 h 53"/>
                <a:gd name="T2" fmla="*/ 1 w 22"/>
                <a:gd name="T3" fmla="*/ 0 h 53"/>
                <a:gd name="T4" fmla="*/ 1 w 22"/>
                <a:gd name="T5" fmla="*/ 0 h 53"/>
                <a:gd name="T6" fmla="*/ 0 w 22"/>
                <a:gd name="T7" fmla="*/ 38 h 53"/>
                <a:gd name="T8" fmla="*/ 22 w 22"/>
                <a:gd name="T9" fmla="*/ 53 h 53"/>
                <a:gd name="T10" fmla="*/ 14 w 22"/>
                <a:gd name="T11" fmla="*/ 30 h 53"/>
                <a:gd name="T12" fmla="*/ 14 w 22"/>
                <a:gd name="T13" fmla="*/ 9 h 53"/>
                <a:gd name="T14" fmla="*/ 1 w 22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5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3"/>
                    <a:pt x="0" y="24"/>
                    <a:pt x="0" y="38"/>
                  </a:cubicBezTo>
                  <a:cubicBezTo>
                    <a:pt x="6" y="40"/>
                    <a:pt x="17" y="51"/>
                    <a:pt x="22" y="53"/>
                  </a:cubicBezTo>
                  <a:cubicBezTo>
                    <a:pt x="17" y="47"/>
                    <a:pt x="14" y="37"/>
                    <a:pt x="14" y="3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5" y="4"/>
                    <a:pt x="4" y="3"/>
                    <a:pt x="1" y="0"/>
                  </a:cubicBezTo>
                </a:path>
              </a:pathLst>
            </a:custGeom>
            <a:solidFill>
              <a:srgbClr val="7D51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" name="任意多边形 118">
              <a:extLst>
                <a:ext uri="{FF2B5EF4-FFF2-40B4-BE49-F238E27FC236}">
                  <a16:creationId xmlns:a16="http://schemas.microsoft.com/office/drawing/2014/main" id="{A2F3291D-6E4E-4F9F-BD73-CF4E2F9CAC28}"/>
                </a:ext>
              </a:extLst>
            </p:cNvPr>
            <p:cNvSpPr/>
            <p:nvPr/>
          </p:nvSpPr>
          <p:spPr bwMode="auto">
            <a:xfrm>
              <a:off x="4441826" y="2744788"/>
              <a:ext cx="746125" cy="685800"/>
            </a:xfrm>
            <a:custGeom>
              <a:avLst/>
              <a:gdLst>
                <a:gd name="T0" fmla="*/ 6 w 286"/>
                <a:gd name="T1" fmla="*/ 10 h 263"/>
                <a:gd name="T2" fmla="*/ 12 w 286"/>
                <a:gd name="T3" fmla="*/ 8 h 263"/>
                <a:gd name="T4" fmla="*/ 286 w 286"/>
                <a:gd name="T5" fmla="*/ 165 h 263"/>
                <a:gd name="T6" fmla="*/ 286 w 286"/>
                <a:gd name="T7" fmla="*/ 180 h 263"/>
                <a:gd name="T8" fmla="*/ 25 w 286"/>
                <a:gd name="T9" fmla="*/ 31 h 263"/>
                <a:gd name="T10" fmla="*/ 19 w 286"/>
                <a:gd name="T11" fmla="*/ 33 h 263"/>
                <a:gd name="T12" fmla="*/ 16 w 286"/>
                <a:gd name="T13" fmla="*/ 41 h 263"/>
                <a:gd name="T14" fmla="*/ 16 w 286"/>
                <a:gd name="T15" fmla="*/ 76 h 263"/>
                <a:gd name="T16" fmla="*/ 30 w 286"/>
                <a:gd name="T17" fmla="*/ 100 h 263"/>
                <a:gd name="T18" fmla="*/ 286 w 286"/>
                <a:gd name="T19" fmla="*/ 248 h 263"/>
                <a:gd name="T20" fmla="*/ 286 w 286"/>
                <a:gd name="T21" fmla="*/ 263 h 263"/>
                <a:gd name="T22" fmla="*/ 17 w 286"/>
                <a:gd name="T23" fmla="*/ 108 h 263"/>
                <a:gd name="T24" fmla="*/ 3 w 286"/>
                <a:gd name="T25" fmla="*/ 83 h 263"/>
                <a:gd name="T26" fmla="*/ 3 w 286"/>
                <a:gd name="T27" fmla="*/ 18 h 263"/>
                <a:gd name="T28" fmla="*/ 6 w 286"/>
                <a:gd name="T29" fmla="*/ 1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" h="263">
                  <a:moveTo>
                    <a:pt x="6" y="10"/>
                  </a:moveTo>
                  <a:cubicBezTo>
                    <a:pt x="8" y="8"/>
                    <a:pt x="10" y="8"/>
                    <a:pt x="12" y="8"/>
                  </a:cubicBezTo>
                  <a:cubicBezTo>
                    <a:pt x="16" y="9"/>
                    <a:pt x="0" y="0"/>
                    <a:pt x="286" y="165"/>
                  </a:cubicBezTo>
                  <a:cubicBezTo>
                    <a:pt x="286" y="180"/>
                    <a:pt x="286" y="180"/>
                    <a:pt x="286" y="180"/>
                  </a:cubicBezTo>
                  <a:cubicBezTo>
                    <a:pt x="13" y="23"/>
                    <a:pt x="29" y="32"/>
                    <a:pt x="25" y="31"/>
                  </a:cubicBezTo>
                  <a:cubicBezTo>
                    <a:pt x="23" y="31"/>
                    <a:pt x="21" y="31"/>
                    <a:pt x="19" y="33"/>
                  </a:cubicBezTo>
                  <a:cubicBezTo>
                    <a:pt x="17" y="35"/>
                    <a:pt x="16" y="38"/>
                    <a:pt x="16" y="41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85"/>
                    <a:pt x="23" y="96"/>
                    <a:pt x="30" y="100"/>
                  </a:cubicBezTo>
                  <a:cubicBezTo>
                    <a:pt x="286" y="248"/>
                    <a:pt x="286" y="248"/>
                    <a:pt x="286" y="248"/>
                  </a:cubicBezTo>
                  <a:cubicBezTo>
                    <a:pt x="286" y="263"/>
                    <a:pt x="286" y="263"/>
                    <a:pt x="286" y="263"/>
                  </a:cubicBezTo>
                  <a:cubicBezTo>
                    <a:pt x="278" y="259"/>
                    <a:pt x="43" y="123"/>
                    <a:pt x="17" y="108"/>
                  </a:cubicBezTo>
                  <a:cubicBezTo>
                    <a:pt x="9" y="103"/>
                    <a:pt x="3" y="93"/>
                    <a:pt x="3" y="83"/>
                  </a:cubicBezTo>
                  <a:cubicBezTo>
                    <a:pt x="3" y="67"/>
                    <a:pt x="3" y="35"/>
                    <a:pt x="3" y="18"/>
                  </a:cubicBezTo>
                  <a:cubicBezTo>
                    <a:pt x="3" y="15"/>
                    <a:pt x="4" y="12"/>
                    <a:pt x="6" y="10"/>
                  </a:cubicBezTo>
                  <a:close/>
                </a:path>
              </a:pathLst>
            </a:custGeom>
            <a:solidFill>
              <a:srgbClr val="82C2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" name="任意多边形 119">
              <a:extLst>
                <a:ext uri="{FF2B5EF4-FFF2-40B4-BE49-F238E27FC236}">
                  <a16:creationId xmlns:a16="http://schemas.microsoft.com/office/drawing/2014/main" id="{97F85213-1F4C-4BD6-8E46-99B3C0DB41BC}"/>
                </a:ext>
              </a:extLst>
            </p:cNvPr>
            <p:cNvSpPr/>
            <p:nvPr/>
          </p:nvSpPr>
          <p:spPr bwMode="auto">
            <a:xfrm>
              <a:off x="7721601" y="4448176"/>
              <a:ext cx="185738" cy="109538"/>
            </a:xfrm>
            <a:custGeom>
              <a:avLst/>
              <a:gdLst>
                <a:gd name="T0" fmla="*/ 59 w 71"/>
                <a:gd name="T1" fmla="*/ 8 h 42"/>
                <a:gd name="T2" fmla="*/ 59 w 71"/>
                <a:gd name="T3" fmla="*/ 34 h 42"/>
                <a:gd name="T4" fmla="*/ 13 w 71"/>
                <a:gd name="T5" fmla="*/ 34 h 42"/>
                <a:gd name="T6" fmla="*/ 13 w 71"/>
                <a:gd name="T7" fmla="*/ 8 h 42"/>
                <a:gd name="T8" fmla="*/ 59 w 71"/>
                <a:gd name="T9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42">
                  <a:moveTo>
                    <a:pt x="59" y="8"/>
                  </a:moveTo>
                  <a:cubicBezTo>
                    <a:pt x="71" y="15"/>
                    <a:pt x="71" y="27"/>
                    <a:pt x="59" y="34"/>
                  </a:cubicBezTo>
                  <a:cubicBezTo>
                    <a:pt x="46" y="42"/>
                    <a:pt x="25" y="42"/>
                    <a:pt x="13" y="34"/>
                  </a:cubicBezTo>
                  <a:cubicBezTo>
                    <a:pt x="0" y="27"/>
                    <a:pt x="0" y="15"/>
                    <a:pt x="13" y="8"/>
                  </a:cubicBezTo>
                  <a:cubicBezTo>
                    <a:pt x="25" y="0"/>
                    <a:pt x="46" y="0"/>
                    <a:pt x="59" y="8"/>
                  </a:cubicBezTo>
                </a:path>
              </a:pathLst>
            </a:custGeom>
            <a:solidFill>
              <a:srgbClr val="EAE8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121" name="图片 120">
              <a:extLst>
                <a:ext uri="{FF2B5EF4-FFF2-40B4-BE49-F238E27FC236}">
                  <a16:creationId xmlns:a16="http://schemas.microsoft.com/office/drawing/2014/main" id="{49F93A29-9BCD-4F06-BDE9-EBF89C159E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5989" y="1431926"/>
              <a:ext cx="1125538" cy="2887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2" name="图片 121">
              <a:extLst>
                <a:ext uri="{FF2B5EF4-FFF2-40B4-BE49-F238E27FC236}">
                  <a16:creationId xmlns:a16="http://schemas.microsoft.com/office/drawing/2014/main" id="{87549476-1498-4D35-9E5C-E57F539255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7589" y="1825626"/>
              <a:ext cx="242888" cy="188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3" name="图片 122">
              <a:extLst>
                <a:ext uri="{FF2B5EF4-FFF2-40B4-BE49-F238E27FC236}">
                  <a16:creationId xmlns:a16="http://schemas.microsoft.com/office/drawing/2014/main" id="{4C982FC4-C733-42AF-9B65-A7F5EE30D8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7589" y="1922463"/>
              <a:ext cx="242888" cy="188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4" name="图片 123">
              <a:extLst>
                <a:ext uri="{FF2B5EF4-FFF2-40B4-BE49-F238E27FC236}">
                  <a16:creationId xmlns:a16="http://schemas.microsoft.com/office/drawing/2014/main" id="{08CF17DD-8E71-48F7-AFA4-F9CB02E3FC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4414" y="1606551"/>
              <a:ext cx="908050" cy="619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5" name="任意多边形 124">
              <a:extLst>
                <a:ext uri="{FF2B5EF4-FFF2-40B4-BE49-F238E27FC236}">
                  <a16:creationId xmlns:a16="http://schemas.microsoft.com/office/drawing/2014/main" id="{29D47E5C-C530-48C7-BAF4-FDDA9426A86F}"/>
                </a:ext>
              </a:extLst>
            </p:cNvPr>
            <p:cNvSpPr/>
            <p:nvPr/>
          </p:nvSpPr>
          <p:spPr bwMode="auto">
            <a:xfrm>
              <a:off x="6457951" y="1690688"/>
              <a:ext cx="215900" cy="149225"/>
            </a:xfrm>
            <a:custGeom>
              <a:avLst/>
              <a:gdLst>
                <a:gd name="T0" fmla="*/ 3 w 83"/>
                <a:gd name="T1" fmla="*/ 0 h 57"/>
                <a:gd name="T2" fmla="*/ 81 w 83"/>
                <a:gd name="T3" fmla="*/ 49 h 57"/>
                <a:gd name="T4" fmla="*/ 82 w 83"/>
                <a:gd name="T5" fmla="*/ 50 h 57"/>
                <a:gd name="T6" fmla="*/ 82 w 83"/>
                <a:gd name="T7" fmla="*/ 52 h 57"/>
                <a:gd name="T8" fmla="*/ 82 w 83"/>
                <a:gd name="T9" fmla="*/ 57 h 57"/>
                <a:gd name="T10" fmla="*/ 6 w 83"/>
                <a:gd name="T11" fmla="*/ 13 h 57"/>
                <a:gd name="T12" fmla="*/ 3 w 83"/>
                <a:gd name="T13" fmla="*/ 5 h 57"/>
                <a:gd name="T14" fmla="*/ 3 w 83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57">
                  <a:moveTo>
                    <a:pt x="3" y="0"/>
                  </a:moveTo>
                  <a:cubicBezTo>
                    <a:pt x="83" y="46"/>
                    <a:pt x="79" y="43"/>
                    <a:pt x="81" y="49"/>
                  </a:cubicBezTo>
                  <a:cubicBezTo>
                    <a:pt x="82" y="49"/>
                    <a:pt x="82" y="50"/>
                    <a:pt x="82" y="50"/>
                  </a:cubicBezTo>
                  <a:cubicBezTo>
                    <a:pt x="82" y="51"/>
                    <a:pt x="82" y="52"/>
                    <a:pt x="82" y="52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0" y="10"/>
                    <a:pt x="8" y="14"/>
                    <a:pt x="6" y="13"/>
                  </a:cubicBezTo>
                  <a:cubicBezTo>
                    <a:pt x="4" y="11"/>
                    <a:pt x="3" y="8"/>
                    <a:pt x="3" y="5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3F4F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任意多边形 125">
              <a:extLst>
                <a:ext uri="{FF2B5EF4-FFF2-40B4-BE49-F238E27FC236}">
                  <a16:creationId xmlns:a16="http://schemas.microsoft.com/office/drawing/2014/main" id="{8A33288A-FFC7-4B81-B1D0-BF29E61B59E7}"/>
                </a:ext>
              </a:extLst>
            </p:cNvPr>
            <p:cNvSpPr/>
            <p:nvPr/>
          </p:nvSpPr>
          <p:spPr bwMode="auto">
            <a:xfrm>
              <a:off x="6446839" y="1687513"/>
              <a:ext cx="223838" cy="165100"/>
            </a:xfrm>
            <a:custGeom>
              <a:avLst/>
              <a:gdLst>
                <a:gd name="T0" fmla="*/ 4 w 86"/>
                <a:gd name="T1" fmla="*/ 0 h 63"/>
                <a:gd name="T2" fmla="*/ 6 w 86"/>
                <a:gd name="T3" fmla="*/ 1 h 63"/>
                <a:gd name="T4" fmla="*/ 7 w 86"/>
                <a:gd name="T5" fmla="*/ 1 h 63"/>
                <a:gd name="T6" fmla="*/ 7 w 86"/>
                <a:gd name="T7" fmla="*/ 9 h 63"/>
                <a:gd name="T8" fmla="*/ 12 w 86"/>
                <a:gd name="T9" fmla="*/ 15 h 63"/>
                <a:gd name="T10" fmla="*/ 86 w 86"/>
                <a:gd name="T11" fmla="*/ 58 h 63"/>
                <a:gd name="T12" fmla="*/ 86 w 86"/>
                <a:gd name="T13" fmla="*/ 59 h 63"/>
                <a:gd name="T14" fmla="*/ 86 w 86"/>
                <a:gd name="T15" fmla="*/ 61 h 63"/>
                <a:gd name="T16" fmla="*/ 85 w 86"/>
                <a:gd name="T17" fmla="*/ 62 h 63"/>
                <a:gd name="T18" fmla="*/ 84 w 86"/>
                <a:gd name="T19" fmla="*/ 63 h 63"/>
                <a:gd name="T20" fmla="*/ 82 w 86"/>
                <a:gd name="T21" fmla="*/ 63 h 63"/>
                <a:gd name="T22" fmla="*/ 81 w 86"/>
                <a:gd name="T23" fmla="*/ 62 h 63"/>
                <a:gd name="T24" fmla="*/ 2 w 86"/>
                <a:gd name="T25" fmla="*/ 15 h 63"/>
                <a:gd name="T26" fmla="*/ 0 w 86"/>
                <a:gd name="T27" fmla="*/ 4 h 63"/>
                <a:gd name="T28" fmla="*/ 1 w 86"/>
                <a:gd name="T29" fmla="*/ 1 h 63"/>
                <a:gd name="T30" fmla="*/ 4 w 86"/>
                <a:gd name="T31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6" h="63">
                  <a:moveTo>
                    <a:pt x="4" y="0"/>
                  </a:moveTo>
                  <a:cubicBezTo>
                    <a:pt x="5" y="0"/>
                    <a:pt x="5" y="0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7"/>
                    <a:pt x="7" y="7"/>
                    <a:pt x="7" y="9"/>
                  </a:cubicBezTo>
                  <a:cubicBezTo>
                    <a:pt x="8" y="12"/>
                    <a:pt x="10" y="14"/>
                    <a:pt x="12" y="15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60"/>
                    <a:pt x="86" y="60"/>
                    <a:pt x="86" y="61"/>
                  </a:cubicBezTo>
                  <a:cubicBezTo>
                    <a:pt x="86" y="61"/>
                    <a:pt x="86" y="62"/>
                    <a:pt x="85" y="62"/>
                  </a:cubicBezTo>
                  <a:cubicBezTo>
                    <a:pt x="85" y="62"/>
                    <a:pt x="85" y="62"/>
                    <a:pt x="84" y="63"/>
                  </a:cubicBezTo>
                  <a:cubicBezTo>
                    <a:pt x="83" y="63"/>
                    <a:pt x="84" y="63"/>
                    <a:pt x="82" y="63"/>
                  </a:cubicBezTo>
                  <a:cubicBezTo>
                    <a:pt x="82" y="63"/>
                    <a:pt x="81" y="63"/>
                    <a:pt x="81" y="62"/>
                  </a:cubicBezTo>
                  <a:cubicBezTo>
                    <a:pt x="4" y="18"/>
                    <a:pt x="3" y="19"/>
                    <a:pt x="2" y="15"/>
                  </a:cubicBezTo>
                  <a:cubicBezTo>
                    <a:pt x="0" y="12"/>
                    <a:pt x="0" y="9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lose/>
                </a:path>
              </a:pathLst>
            </a:custGeom>
            <a:solidFill>
              <a:srgbClr val="5D65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任意多边形 126">
              <a:extLst>
                <a:ext uri="{FF2B5EF4-FFF2-40B4-BE49-F238E27FC236}">
                  <a16:creationId xmlns:a16="http://schemas.microsoft.com/office/drawing/2014/main" id="{7D79A0E4-7401-43AE-A4CE-370FAEB749AF}"/>
                </a:ext>
              </a:extLst>
            </p:cNvPr>
            <p:cNvSpPr/>
            <p:nvPr/>
          </p:nvSpPr>
          <p:spPr bwMode="auto">
            <a:xfrm>
              <a:off x="6026151" y="1322388"/>
              <a:ext cx="1255713" cy="3067050"/>
            </a:xfrm>
            <a:custGeom>
              <a:avLst/>
              <a:gdLst>
                <a:gd name="T0" fmla="*/ 38 w 481"/>
                <a:gd name="T1" fmla="*/ 41 h 1176"/>
                <a:gd name="T2" fmla="*/ 0 w 481"/>
                <a:gd name="T3" fmla="*/ 37 h 1176"/>
                <a:gd name="T4" fmla="*/ 66 w 481"/>
                <a:gd name="T5" fmla="*/ 1 h 1176"/>
                <a:gd name="T6" fmla="*/ 95 w 481"/>
                <a:gd name="T7" fmla="*/ 8 h 1176"/>
                <a:gd name="T8" fmla="*/ 427 w 481"/>
                <a:gd name="T9" fmla="*/ 200 h 1176"/>
                <a:gd name="T10" fmla="*/ 481 w 481"/>
                <a:gd name="T11" fmla="*/ 294 h 1176"/>
                <a:gd name="T12" fmla="*/ 479 w 481"/>
                <a:gd name="T13" fmla="*/ 1111 h 1176"/>
                <a:gd name="T14" fmla="*/ 463 w 481"/>
                <a:gd name="T15" fmla="*/ 1136 h 1176"/>
                <a:gd name="T16" fmla="*/ 412 w 481"/>
                <a:gd name="T17" fmla="*/ 1165 h 1176"/>
                <a:gd name="T18" fmla="*/ 423 w 481"/>
                <a:gd name="T19" fmla="*/ 1133 h 1176"/>
                <a:gd name="T20" fmla="*/ 424 w 481"/>
                <a:gd name="T21" fmla="*/ 327 h 1176"/>
                <a:gd name="T22" fmla="*/ 370 w 481"/>
                <a:gd name="T23" fmla="*/ 232 h 1176"/>
                <a:gd name="T24" fmla="*/ 38 w 481"/>
                <a:gd name="T25" fmla="*/ 41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1" h="1176">
                  <a:moveTo>
                    <a:pt x="38" y="41"/>
                  </a:moveTo>
                  <a:cubicBezTo>
                    <a:pt x="23" y="32"/>
                    <a:pt x="10" y="32"/>
                    <a:pt x="0" y="37"/>
                  </a:cubicBezTo>
                  <a:cubicBezTo>
                    <a:pt x="59" y="3"/>
                    <a:pt x="58" y="2"/>
                    <a:pt x="66" y="1"/>
                  </a:cubicBezTo>
                  <a:cubicBezTo>
                    <a:pt x="78" y="0"/>
                    <a:pt x="85" y="3"/>
                    <a:pt x="95" y="8"/>
                  </a:cubicBezTo>
                  <a:cubicBezTo>
                    <a:pt x="427" y="200"/>
                    <a:pt x="427" y="200"/>
                    <a:pt x="427" y="200"/>
                  </a:cubicBezTo>
                  <a:cubicBezTo>
                    <a:pt x="454" y="215"/>
                    <a:pt x="481" y="257"/>
                    <a:pt x="481" y="294"/>
                  </a:cubicBezTo>
                  <a:cubicBezTo>
                    <a:pt x="479" y="1156"/>
                    <a:pt x="480" y="1103"/>
                    <a:pt x="479" y="1111"/>
                  </a:cubicBezTo>
                  <a:cubicBezTo>
                    <a:pt x="477" y="1120"/>
                    <a:pt x="472" y="1131"/>
                    <a:pt x="463" y="1136"/>
                  </a:cubicBezTo>
                  <a:cubicBezTo>
                    <a:pt x="392" y="1176"/>
                    <a:pt x="409" y="1168"/>
                    <a:pt x="412" y="1165"/>
                  </a:cubicBezTo>
                  <a:cubicBezTo>
                    <a:pt x="420" y="1157"/>
                    <a:pt x="423" y="1144"/>
                    <a:pt x="423" y="1133"/>
                  </a:cubicBezTo>
                  <a:cubicBezTo>
                    <a:pt x="424" y="327"/>
                    <a:pt x="424" y="327"/>
                    <a:pt x="424" y="327"/>
                  </a:cubicBezTo>
                  <a:cubicBezTo>
                    <a:pt x="424" y="293"/>
                    <a:pt x="402" y="251"/>
                    <a:pt x="370" y="232"/>
                  </a:cubicBezTo>
                  <a:cubicBezTo>
                    <a:pt x="38" y="41"/>
                    <a:pt x="38" y="41"/>
                    <a:pt x="38" y="41"/>
                  </a:cubicBezTo>
                </a:path>
              </a:pathLst>
            </a:custGeom>
            <a:solidFill>
              <a:srgbClr val="814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任意多边形 127">
              <a:extLst>
                <a:ext uri="{FF2B5EF4-FFF2-40B4-BE49-F238E27FC236}">
                  <a16:creationId xmlns:a16="http://schemas.microsoft.com/office/drawing/2014/main" id="{4292426F-1DDA-4802-9011-B4F24FAE7878}"/>
                </a:ext>
              </a:extLst>
            </p:cNvPr>
            <p:cNvSpPr/>
            <p:nvPr/>
          </p:nvSpPr>
          <p:spPr bwMode="auto">
            <a:xfrm>
              <a:off x="5980114" y="1406526"/>
              <a:ext cx="1152525" cy="2997200"/>
            </a:xfrm>
            <a:custGeom>
              <a:avLst/>
              <a:gdLst>
                <a:gd name="T0" fmla="*/ 388 w 442"/>
                <a:gd name="T1" fmla="*/ 200 h 1149"/>
                <a:gd name="T2" fmla="*/ 56 w 442"/>
                <a:gd name="T3" fmla="*/ 9 h 1149"/>
                <a:gd name="T4" fmla="*/ 18 w 442"/>
                <a:gd name="T5" fmla="*/ 5 h 1149"/>
                <a:gd name="T6" fmla="*/ 18 w 442"/>
                <a:gd name="T7" fmla="*/ 5 h 1149"/>
                <a:gd name="T8" fmla="*/ 2 w 442"/>
                <a:gd name="T9" fmla="*/ 40 h 1149"/>
                <a:gd name="T10" fmla="*/ 0 w 442"/>
                <a:gd name="T11" fmla="*/ 799 h 1149"/>
                <a:gd name="T12" fmla="*/ 0 w 442"/>
                <a:gd name="T13" fmla="*/ 799 h 1149"/>
                <a:gd name="T14" fmla="*/ 0 w 442"/>
                <a:gd name="T15" fmla="*/ 846 h 1149"/>
                <a:gd name="T16" fmla="*/ 54 w 442"/>
                <a:gd name="T17" fmla="*/ 941 h 1149"/>
                <a:gd name="T18" fmla="*/ 386 w 442"/>
                <a:gd name="T19" fmla="*/ 1133 h 1149"/>
                <a:gd name="T20" fmla="*/ 441 w 442"/>
                <a:gd name="T21" fmla="*/ 1101 h 1149"/>
                <a:gd name="T22" fmla="*/ 442 w 442"/>
                <a:gd name="T23" fmla="*/ 295 h 1149"/>
                <a:gd name="T24" fmla="*/ 388 w 442"/>
                <a:gd name="T25" fmla="*/ 200 h 1149"/>
                <a:gd name="T26" fmla="*/ 432 w 442"/>
                <a:gd name="T27" fmla="*/ 464 h 1149"/>
                <a:gd name="T28" fmla="*/ 431 w 442"/>
                <a:gd name="T29" fmla="*/ 1095 h 1149"/>
                <a:gd name="T30" fmla="*/ 393 w 442"/>
                <a:gd name="T31" fmla="*/ 1124 h 1149"/>
                <a:gd name="T32" fmla="*/ 122 w 442"/>
                <a:gd name="T33" fmla="*/ 968 h 1149"/>
                <a:gd name="T34" fmla="*/ 74 w 442"/>
                <a:gd name="T35" fmla="*/ 940 h 1149"/>
                <a:gd name="T36" fmla="*/ 42 w 442"/>
                <a:gd name="T37" fmla="*/ 920 h 1149"/>
                <a:gd name="T38" fmla="*/ 20 w 442"/>
                <a:gd name="T39" fmla="*/ 891 h 1149"/>
                <a:gd name="T40" fmla="*/ 10 w 442"/>
                <a:gd name="T41" fmla="*/ 855 h 1149"/>
                <a:gd name="T42" fmla="*/ 10 w 442"/>
                <a:gd name="T43" fmla="*/ 814 h 1149"/>
                <a:gd name="T44" fmla="*/ 10 w 442"/>
                <a:gd name="T45" fmla="*/ 814 h 1149"/>
                <a:gd name="T46" fmla="*/ 12 w 442"/>
                <a:gd name="T47" fmla="*/ 150 h 1149"/>
                <a:gd name="T48" fmla="*/ 12 w 442"/>
                <a:gd name="T49" fmla="*/ 60 h 1149"/>
                <a:gd name="T50" fmla="*/ 16 w 442"/>
                <a:gd name="T51" fmla="*/ 27 h 1149"/>
                <a:gd name="T52" fmla="*/ 30 w 442"/>
                <a:gd name="T53" fmla="*/ 15 h 1149"/>
                <a:gd name="T54" fmla="*/ 82 w 442"/>
                <a:gd name="T55" fmla="*/ 36 h 1149"/>
                <a:gd name="T56" fmla="*/ 128 w 442"/>
                <a:gd name="T57" fmla="*/ 62 h 1149"/>
                <a:gd name="T58" fmla="*/ 274 w 442"/>
                <a:gd name="T59" fmla="*/ 146 h 1149"/>
                <a:gd name="T60" fmla="*/ 374 w 442"/>
                <a:gd name="T61" fmla="*/ 204 h 1149"/>
                <a:gd name="T62" fmla="*/ 411 w 442"/>
                <a:gd name="T63" fmla="*/ 233 h 1149"/>
                <a:gd name="T64" fmla="*/ 427 w 442"/>
                <a:gd name="T65" fmla="*/ 260 h 1149"/>
                <a:gd name="T66" fmla="*/ 432 w 442"/>
                <a:gd name="T67" fmla="*/ 307 h 1149"/>
                <a:gd name="T68" fmla="*/ 433 w 442"/>
                <a:gd name="T69" fmla="*/ 369 h 1149"/>
                <a:gd name="T70" fmla="*/ 432 w 442"/>
                <a:gd name="T71" fmla="*/ 464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2" h="1149">
                  <a:moveTo>
                    <a:pt x="388" y="200"/>
                  </a:moveTo>
                  <a:cubicBezTo>
                    <a:pt x="56" y="9"/>
                    <a:pt x="56" y="9"/>
                    <a:pt x="56" y="9"/>
                  </a:cubicBezTo>
                  <a:cubicBezTo>
                    <a:pt x="41" y="0"/>
                    <a:pt x="28" y="0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6" y="10"/>
                    <a:pt x="2" y="27"/>
                    <a:pt x="2" y="40"/>
                  </a:cubicBezTo>
                  <a:cubicBezTo>
                    <a:pt x="0" y="799"/>
                    <a:pt x="0" y="799"/>
                    <a:pt x="0" y="799"/>
                  </a:cubicBezTo>
                  <a:cubicBezTo>
                    <a:pt x="0" y="799"/>
                    <a:pt x="0" y="799"/>
                    <a:pt x="0" y="799"/>
                  </a:cubicBezTo>
                  <a:cubicBezTo>
                    <a:pt x="0" y="846"/>
                    <a:pt x="0" y="846"/>
                    <a:pt x="0" y="846"/>
                  </a:cubicBezTo>
                  <a:cubicBezTo>
                    <a:pt x="0" y="880"/>
                    <a:pt x="22" y="922"/>
                    <a:pt x="54" y="941"/>
                  </a:cubicBezTo>
                  <a:cubicBezTo>
                    <a:pt x="386" y="1133"/>
                    <a:pt x="386" y="1133"/>
                    <a:pt x="386" y="1133"/>
                  </a:cubicBezTo>
                  <a:cubicBezTo>
                    <a:pt x="414" y="1149"/>
                    <a:pt x="440" y="1138"/>
                    <a:pt x="441" y="1101"/>
                  </a:cubicBezTo>
                  <a:cubicBezTo>
                    <a:pt x="442" y="295"/>
                    <a:pt x="442" y="295"/>
                    <a:pt x="442" y="295"/>
                  </a:cubicBezTo>
                  <a:cubicBezTo>
                    <a:pt x="442" y="261"/>
                    <a:pt x="420" y="219"/>
                    <a:pt x="388" y="200"/>
                  </a:cubicBezTo>
                  <a:moveTo>
                    <a:pt x="432" y="464"/>
                  </a:moveTo>
                  <a:cubicBezTo>
                    <a:pt x="431" y="505"/>
                    <a:pt x="432" y="375"/>
                    <a:pt x="431" y="1095"/>
                  </a:cubicBezTo>
                  <a:cubicBezTo>
                    <a:pt x="431" y="1120"/>
                    <a:pt x="414" y="1133"/>
                    <a:pt x="393" y="1124"/>
                  </a:cubicBezTo>
                  <a:cubicBezTo>
                    <a:pt x="388" y="1122"/>
                    <a:pt x="126" y="970"/>
                    <a:pt x="122" y="968"/>
                  </a:cubicBezTo>
                  <a:cubicBezTo>
                    <a:pt x="106" y="959"/>
                    <a:pt x="91" y="949"/>
                    <a:pt x="74" y="940"/>
                  </a:cubicBezTo>
                  <a:cubicBezTo>
                    <a:pt x="63" y="934"/>
                    <a:pt x="52" y="928"/>
                    <a:pt x="42" y="920"/>
                  </a:cubicBezTo>
                  <a:cubicBezTo>
                    <a:pt x="34" y="913"/>
                    <a:pt x="25" y="901"/>
                    <a:pt x="20" y="891"/>
                  </a:cubicBezTo>
                  <a:cubicBezTo>
                    <a:pt x="14" y="879"/>
                    <a:pt x="11" y="869"/>
                    <a:pt x="10" y="855"/>
                  </a:cubicBezTo>
                  <a:cubicBezTo>
                    <a:pt x="10" y="845"/>
                    <a:pt x="10" y="850"/>
                    <a:pt x="10" y="814"/>
                  </a:cubicBezTo>
                  <a:cubicBezTo>
                    <a:pt x="10" y="814"/>
                    <a:pt x="10" y="814"/>
                    <a:pt x="10" y="814"/>
                  </a:cubicBezTo>
                  <a:cubicBezTo>
                    <a:pt x="10" y="344"/>
                    <a:pt x="12" y="184"/>
                    <a:pt x="12" y="150"/>
                  </a:cubicBezTo>
                  <a:cubicBezTo>
                    <a:pt x="11" y="76"/>
                    <a:pt x="13" y="80"/>
                    <a:pt x="12" y="60"/>
                  </a:cubicBezTo>
                  <a:cubicBezTo>
                    <a:pt x="12" y="49"/>
                    <a:pt x="11" y="37"/>
                    <a:pt x="16" y="27"/>
                  </a:cubicBezTo>
                  <a:cubicBezTo>
                    <a:pt x="20" y="20"/>
                    <a:pt x="25" y="16"/>
                    <a:pt x="30" y="15"/>
                  </a:cubicBezTo>
                  <a:cubicBezTo>
                    <a:pt x="46" y="10"/>
                    <a:pt x="68" y="27"/>
                    <a:pt x="82" y="36"/>
                  </a:cubicBezTo>
                  <a:cubicBezTo>
                    <a:pt x="97" y="46"/>
                    <a:pt x="113" y="54"/>
                    <a:pt x="128" y="62"/>
                  </a:cubicBezTo>
                  <a:cubicBezTo>
                    <a:pt x="164" y="82"/>
                    <a:pt x="189" y="99"/>
                    <a:pt x="274" y="146"/>
                  </a:cubicBezTo>
                  <a:cubicBezTo>
                    <a:pt x="363" y="197"/>
                    <a:pt x="352" y="191"/>
                    <a:pt x="374" y="204"/>
                  </a:cubicBezTo>
                  <a:cubicBezTo>
                    <a:pt x="389" y="212"/>
                    <a:pt x="400" y="218"/>
                    <a:pt x="411" y="233"/>
                  </a:cubicBezTo>
                  <a:cubicBezTo>
                    <a:pt x="418" y="243"/>
                    <a:pt x="423" y="251"/>
                    <a:pt x="427" y="260"/>
                  </a:cubicBezTo>
                  <a:cubicBezTo>
                    <a:pt x="433" y="278"/>
                    <a:pt x="433" y="288"/>
                    <a:pt x="432" y="307"/>
                  </a:cubicBezTo>
                  <a:cubicBezTo>
                    <a:pt x="432" y="328"/>
                    <a:pt x="432" y="349"/>
                    <a:pt x="433" y="369"/>
                  </a:cubicBezTo>
                  <a:cubicBezTo>
                    <a:pt x="433" y="401"/>
                    <a:pt x="432" y="433"/>
                    <a:pt x="432" y="464"/>
                  </a:cubicBezTo>
                </a:path>
              </a:pathLst>
            </a:custGeom>
            <a:solidFill>
              <a:srgbClr val="A68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129" name="图片 128">
              <a:extLst>
                <a:ext uri="{FF2B5EF4-FFF2-40B4-BE49-F238E27FC236}">
                  <a16:creationId xmlns:a16="http://schemas.microsoft.com/office/drawing/2014/main" id="{B452A5F2-F497-403C-8BBA-F79000BDC5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7589" y="2586038"/>
              <a:ext cx="906463" cy="1023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0" name="任意多边形 129">
              <a:extLst>
                <a:ext uri="{FF2B5EF4-FFF2-40B4-BE49-F238E27FC236}">
                  <a16:creationId xmlns:a16="http://schemas.microsoft.com/office/drawing/2014/main" id="{92D2BFD0-5C73-4792-87B8-AB0FD39ECE77}"/>
                </a:ext>
              </a:extLst>
            </p:cNvPr>
            <p:cNvSpPr/>
            <p:nvPr/>
          </p:nvSpPr>
          <p:spPr bwMode="auto">
            <a:xfrm>
              <a:off x="6427789" y="2928938"/>
              <a:ext cx="247650" cy="328613"/>
            </a:xfrm>
            <a:custGeom>
              <a:avLst/>
              <a:gdLst>
                <a:gd name="T0" fmla="*/ 95 w 95"/>
                <a:gd name="T1" fmla="*/ 91 h 126"/>
                <a:gd name="T2" fmla="*/ 47 w 95"/>
                <a:gd name="T3" fmla="*/ 111 h 126"/>
                <a:gd name="T4" fmla="*/ 0 w 95"/>
                <a:gd name="T5" fmla="*/ 36 h 126"/>
                <a:gd name="T6" fmla="*/ 47 w 95"/>
                <a:gd name="T7" fmla="*/ 15 h 126"/>
                <a:gd name="T8" fmla="*/ 95 w 95"/>
                <a:gd name="T9" fmla="*/ 9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26">
                  <a:moveTo>
                    <a:pt x="95" y="91"/>
                  </a:moveTo>
                  <a:cubicBezTo>
                    <a:pt x="95" y="117"/>
                    <a:pt x="74" y="126"/>
                    <a:pt x="47" y="111"/>
                  </a:cubicBezTo>
                  <a:cubicBezTo>
                    <a:pt x="21" y="95"/>
                    <a:pt x="0" y="62"/>
                    <a:pt x="0" y="36"/>
                  </a:cubicBezTo>
                  <a:cubicBezTo>
                    <a:pt x="0" y="9"/>
                    <a:pt x="21" y="0"/>
                    <a:pt x="47" y="15"/>
                  </a:cubicBezTo>
                  <a:cubicBezTo>
                    <a:pt x="74" y="31"/>
                    <a:pt x="95" y="64"/>
                    <a:pt x="95" y="91"/>
                  </a:cubicBezTo>
                </a:path>
              </a:pathLst>
            </a:custGeom>
            <a:solidFill>
              <a:srgbClr val="9D8C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1" name="任意多边形 130">
              <a:extLst>
                <a:ext uri="{FF2B5EF4-FFF2-40B4-BE49-F238E27FC236}">
                  <a16:creationId xmlns:a16="http://schemas.microsoft.com/office/drawing/2014/main" id="{4E08CE89-D39B-495F-B598-B34E0BB851E0}"/>
                </a:ext>
              </a:extLst>
            </p:cNvPr>
            <p:cNvSpPr/>
            <p:nvPr/>
          </p:nvSpPr>
          <p:spPr bwMode="auto">
            <a:xfrm>
              <a:off x="6508751" y="3016251"/>
              <a:ext cx="112713" cy="130175"/>
            </a:xfrm>
            <a:custGeom>
              <a:avLst/>
              <a:gdLst>
                <a:gd name="T0" fmla="*/ 3 w 43"/>
                <a:gd name="T1" fmla="*/ 0 h 50"/>
                <a:gd name="T2" fmla="*/ 0 w 43"/>
                <a:gd name="T3" fmla="*/ 3 h 50"/>
                <a:gd name="T4" fmla="*/ 0 w 43"/>
                <a:gd name="T5" fmla="*/ 40 h 50"/>
                <a:gd name="T6" fmla="*/ 3 w 43"/>
                <a:gd name="T7" fmla="*/ 47 h 50"/>
                <a:gd name="T8" fmla="*/ 9 w 43"/>
                <a:gd name="T9" fmla="*/ 50 h 50"/>
                <a:gd name="T10" fmla="*/ 41 w 43"/>
                <a:gd name="T11" fmla="*/ 50 h 50"/>
                <a:gd name="T12" fmla="*/ 43 w 43"/>
                <a:gd name="T13" fmla="*/ 47 h 50"/>
                <a:gd name="T14" fmla="*/ 41 w 43"/>
                <a:gd name="T15" fmla="*/ 40 h 50"/>
                <a:gd name="T16" fmla="*/ 9 w 43"/>
                <a:gd name="T17" fmla="*/ 3 h 50"/>
                <a:gd name="T18" fmla="*/ 3 w 43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50">
                  <a:moveTo>
                    <a:pt x="3" y="0"/>
                  </a:moveTo>
                  <a:cubicBezTo>
                    <a:pt x="2" y="0"/>
                    <a:pt x="0" y="1"/>
                    <a:pt x="0" y="3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2"/>
                    <a:pt x="2" y="45"/>
                    <a:pt x="3" y="47"/>
                  </a:cubicBezTo>
                  <a:cubicBezTo>
                    <a:pt x="5" y="49"/>
                    <a:pt x="7" y="50"/>
                    <a:pt x="9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2" y="50"/>
                    <a:pt x="43" y="49"/>
                    <a:pt x="43" y="47"/>
                  </a:cubicBezTo>
                  <a:cubicBezTo>
                    <a:pt x="43" y="45"/>
                    <a:pt x="42" y="42"/>
                    <a:pt x="41" y="40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7" y="1"/>
                    <a:pt x="5" y="0"/>
                    <a:pt x="3" y="0"/>
                  </a:cubicBezTo>
                </a:path>
              </a:pathLst>
            </a:custGeom>
            <a:solidFill>
              <a:srgbClr val="DFD9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132" name="图片 131">
              <a:extLst>
                <a:ext uri="{FF2B5EF4-FFF2-40B4-BE49-F238E27FC236}">
                  <a16:creationId xmlns:a16="http://schemas.microsoft.com/office/drawing/2014/main" id="{6B05E8B1-2213-4EDD-B68B-81E8ED1470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7589" y="3175001"/>
              <a:ext cx="906463" cy="1023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" name="任意多边形 132">
              <a:extLst>
                <a:ext uri="{FF2B5EF4-FFF2-40B4-BE49-F238E27FC236}">
                  <a16:creationId xmlns:a16="http://schemas.microsoft.com/office/drawing/2014/main" id="{9A8D3B6C-38BC-434D-915B-A5B56639BB60}"/>
                </a:ext>
              </a:extLst>
            </p:cNvPr>
            <p:cNvSpPr/>
            <p:nvPr/>
          </p:nvSpPr>
          <p:spPr bwMode="auto">
            <a:xfrm>
              <a:off x="6427789" y="3521076"/>
              <a:ext cx="247650" cy="327025"/>
            </a:xfrm>
            <a:custGeom>
              <a:avLst/>
              <a:gdLst>
                <a:gd name="T0" fmla="*/ 95 w 95"/>
                <a:gd name="T1" fmla="*/ 90 h 125"/>
                <a:gd name="T2" fmla="*/ 47 w 95"/>
                <a:gd name="T3" fmla="*/ 110 h 125"/>
                <a:gd name="T4" fmla="*/ 0 w 95"/>
                <a:gd name="T5" fmla="*/ 35 h 125"/>
                <a:gd name="T6" fmla="*/ 47 w 95"/>
                <a:gd name="T7" fmla="*/ 15 h 125"/>
                <a:gd name="T8" fmla="*/ 95 w 95"/>
                <a:gd name="T9" fmla="*/ 9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25">
                  <a:moveTo>
                    <a:pt x="95" y="90"/>
                  </a:moveTo>
                  <a:cubicBezTo>
                    <a:pt x="95" y="116"/>
                    <a:pt x="74" y="125"/>
                    <a:pt x="47" y="110"/>
                  </a:cubicBezTo>
                  <a:cubicBezTo>
                    <a:pt x="21" y="95"/>
                    <a:pt x="0" y="61"/>
                    <a:pt x="0" y="35"/>
                  </a:cubicBezTo>
                  <a:cubicBezTo>
                    <a:pt x="0" y="9"/>
                    <a:pt x="21" y="0"/>
                    <a:pt x="47" y="15"/>
                  </a:cubicBezTo>
                  <a:cubicBezTo>
                    <a:pt x="74" y="30"/>
                    <a:pt x="95" y="64"/>
                    <a:pt x="95" y="90"/>
                  </a:cubicBezTo>
                </a:path>
              </a:pathLst>
            </a:custGeom>
            <a:solidFill>
              <a:srgbClr val="9D8C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4" name="任意多边形 133">
              <a:extLst>
                <a:ext uri="{FF2B5EF4-FFF2-40B4-BE49-F238E27FC236}">
                  <a16:creationId xmlns:a16="http://schemas.microsoft.com/office/drawing/2014/main" id="{82AB85E0-47FE-458B-9CAF-1EED61B8996B}"/>
                </a:ext>
              </a:extLst>
            </p:cNvPr>
            <p:cNvSpPr/>
            <p:nvPr/>
          </p:nvSpPr>
          <p:spPr bwMode="auto">
            <a:xfrm>
              <a:off x="6508751" y="3608388"/>
              <a:ext cx="112713" cy="127000"/>
            </a:xfrm>
            <a:custGeom>
              <a:avLst/>
              <a:gdLst>
                <a:gd name="T0" fmla="*/ 3 w 43"/>
                <a:gd name="T1" fmla="*/ 0 h 49"/>
                <a:gd name="T2" fmla="*/ 0 w 43"/>
                <a:gd name="T3" fmla="*/ 3 h 49"/>
                <a:gd name="T4" fmla="*/ 0 w 43"/>
                <a:gd name="T5" fmla="*/ 40 h 49"/>
                <a:gd name="T6" fmla="*/ 3 w 43"/>
                <a:gd name="T7" fmla="*/ 46 h 49"/>
                <a:gd name="T8" fmla="*/ 9 w 43"/>
                <a:gd name="T9" fmla="*/ 49 h 49"/>
                <a:gd name="T10" fmla="*/ 41 w 43"/>
                <a:gd name="T11" fmla="*/ 49 h 49"/>
                <a:gd name="T12" fmla="*/ 43 w 43"/>
                <a:gd name="T13" fmla="*/ 46 h 49"/>
                <a:gd name="T14" fmla="*/ 41 w 43"/>
                <a:gd name="T15" fmla="*/ 40 h 49"/>
                <a:gd name="T16" fmla="*/ 9 w 43"/>
                <a:gd name="T17" fmla="*/ 3 h 49"/>
                <a:gd name="T18" fmla="*/ 3 w 43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9">
                  <a:moveTo>
                    <a:pt x="3" y="0"/>
                  </a:moveTo>
                  <a:cubicBezTo>
                    <a:pt x="2" y="0"/>
                    <a:pt x="0" y="1"/>
                    <a:pt x="0" y="3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2"/>
                    <a:pt x="2" y="44"/>
                    <a:pt x="3" y="46"/>
                  </a:cubicBezTo>
                  <a:cubicBezTo>
                    <a:pt x="5" y="48"/>
                    <a:pt x="7" y="49"/>
                    <a:pt x="9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2" y="49"/>
                    <a:pt x="43" y="48"/>
                    <a:pt x="43" y="46"/>
                  </a:cubicBezTo>
                  <a:cubicBezTo>
                    <a:pt x="43" y="44"/>
                    <a:pt x="42" y="42"/>
                    <a:pt x="41" y="40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7" y="1"/>
                    <a:pt x="5" y="0"/>
                    <a:pt x="3" y="0"/>
                  </a:cubicBezTo>
                </a:path>
              </a:pathLst>
            </a:custGeom>
            <a:solidFill>
              <a:srgbClr val="DFD9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135" name="图片 134">
              <a:extLst>
                <a:ext uri="{FF2B5EF4-FFF2-40B4-BE49-F238E27FC236}">
                  <a16:creationId xmlns:a16="http://schemas.microsoft.com/office/drawing/2014/main" id="{3EF956E5-18B1-40D9-9E30-F60DA11B31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7589" y="2058988"/>
              <a:ext cx="906463" cy="962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6" name="任意多边形 135">
              <a:extLst>
                <a:ext uri="{FF2B5EF4-FFF2-40B4-BE49-F238E27FC236}">
                  <a16:creationId xmlns:a16="http://schemas.microsoft.com/office/drawing/2014/main" id="{6423193E-A03C-4287-9B93-1EB167DAD553}"/>
                </a:ext>
              </a:extLst>
            </p:cNvPr>
            <p:cNvSpPr/>
            <p:nvPr/>
          </p:nvSpPr>
          <p:spPr bwMode="auto">
            <a:xfrm>
              <a:off x="6427789" y="2371726"/>
              <a:ext cx="247650" cy="328613"/>
            </a:xfrm>
            <a:custGeom>
              <a:avLst/>
              <a:gdLst>
                <a:gd name="T0" fmla="*/ 95 w 95"/>
                <a:gd name="T1" fmla="*/ 91 h 126"/>
                <a:gd name="T2" fmla="*/ 47 w 95"/>
                <a:gd name="T3" fmla="*/ 111 h 126"/>
                <a:gd name="T4" fmla="*/ 0 w 95"/>
                <a:gd name="T5" fmla="*/ 36 h 126"/>
                <a:gd name="T6" fmla="*/ 47 w 95"/>
                <a:gd name="T7" fmla="*/ 16 h 126"/>
                <a:gd name="T8" fmla="*/ 95 w 95"/>
                <a:gd name="T9" fmla="*/ 9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26">
                  <a:moveTo>
                    <a:pt x="95" y="91"/>
                  </a:moveTo>
                  <a:cubicBezTo>
                    <a:pt x="95" y="117"/>
                    <a:pt x="74" y="126"/>
                    <a:pt x="47" y="111"/>
                  </a:cubicBezTo>
                  <a:cubicBezTo>
                    <a:pt x="21" y="96"/>
                    <a:pt x="0" y="62"/>
                    <a:pt x="0" y="36"/>
                  </a:cubicBezTo>
                  <a:cubicBezTo>
                    <a:pt x="0" y="9"/>
                    <a:pt x="21" y="0"/>
                    <a:pt x="47" y="16"/>
                  </a:cubicBezTo>
                  <a:cubicBezTo>
                    <a:pt x="74" y="31"/>
                    <a:pt x="95" y="64"/>
                    <a:pt x="95" y="91"/>
                  </a:cubicBezTo>
                </a:path>
              </a:pathLst>
            </a:custGeom>
            <a:solidFill>
              <a:srgbClr val="9D8C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7" name="任意多边形 136">
              <a:extLst>
                <a:ext uri="{FF2B5EF4-FFF2-40B4-BE49-F238E27FC236}">
                  <a16:creationId xmlns:a16="http://schemas.microsoft.com/office/drawing/2014/main" id="{D5BEA8FB-BD04-4411-9C1D-B579561DE819}"/>
                </a:ext>
              </a:extLst>
            </p:cNvPr>
            <p:cNvSpPr/>
            <p:nvPr/>
          </p:nvSpPr>
          <p:spPr bwMode="auto">
            <a:xfrm>
              <a:off x="6508751" y="2457451"/>
              <a:ext cx="112713" cy="130175"/>
            </a:xfrm>
            <a:custGeom>
              <a:avLst/>
              <a:gdLst>
                <a:gd name="T0" fmla="*/ 3 w 43"/>
                <a:gd name="T1" fmla="*/ 0 h 50"/>
                <a:gd name="T2" fmla="*/ 0 w 43"/>
                <a:gd name="T3" fmla="*/ 4 h 50"/>
                <a:gd name="T4" fmla="*/ 0 w 43"/>
                <a:gd name="T5" fmla="*/ 40 h 50"/>
                <a:gd name="T6" fmla="*/ 3 w 43"/>
                <a:gd name="T7" fmla="*/ 47 h 50"/>
                <a:gd name="T8" fmla="*/ 9 w 43"/>
                <a:gd name="T9" fmla="*/ 50 h 50"/>
                <a:gd name="T10" fmla="*/ 41 w 43"/>
                <a:gd name="T11" fmla="*/ 50 h 50"/>
                <a:gd name="T12" fmla="*/ 43 w 43"/>
                <a:gd name="T13" fmla="*/ 47 h 50"/>
                <a:gd name="T14" fmla="*/ 41 w 43"/>
                <a:gd name="T15" fmla="*/ 40 h 50"/>
                <a:gd name="T16" fmla="*/ 9 w 43"/>
                <a:gd name="T17" fmla="*/ 4 h 50"/>
                <a:gd name="T18" fmla="*/ 3 w 43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50">
                  <a:moveTo>
                    <a:pt x="3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2"/>
                    <a:pt x="2" y="45"/>
                    <a:pt x="3" y="47"/>
                  </a:cubicBezTo>
                  <a:cubicBezTo>
                    <a:pt x="5" y="49"/>
                    <a:pt x="7" y="50"/>
                    <a:pt x="9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2" y="50"/>
                    <a:pt x="43" y="49"/>
                    <a:pt x="43" y="47"/>
                  </a:cubicBezTo>
                  <a:cubicBezTo>
                    <a:pt x="43" y="45"/>
                    <a:pt x="42" y="42"/>
                    <a:pt x="41" y="4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7" y="2"/>
                    <a:pt x="5" y="0"/>
                    <a:pt x="3" y="0"/>
                  </a:cubicBezTo>
                </a:path>
              </a:pathLst>
            </a:custGeom>
            <a:solidFill>
              <a:srgbClr val="DFD9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8" name="任意多边形 137">
              <a:extLst>
                <a:ext uri="{FF2B5EF4-FFF2-40B4-BE49-F238E27FC236}">
                  <a16:creationId xmlns:a16="http://schemas.microsoft.com/office/drawing/2014/main" id="{9DCC7A81-C536-4ADA-BA3C-1E4D40A65C17}"/>
                </a:ext>
              </a:extLst>
            </p:cNvPr>
            <p:cNvSpPr/>
            <p:nvPr/>
          </p:nvSpPr>
          <p:spPr bwMode="auto">
            <a:xfrm>
              <a:off x="7267576" y="2008188"/>
              <a:ext cx="1277938" cy="2162175"/>
            </a:xfrm>
            <a:custGeom>
              <a:avLst/>
              <a:gdLst>
                <a:gd name="T0" fmla="*/ 4 w 490"/>
                <a:gd name="T1" fmla="*/ 675 h 829"/>
                <a:gd name="T2" fmla="*/ 4 w 490"/>
                <a:gd name="T3" fmla="*/ 773 h 829"/>
                <a:gd name="T4" fmla="*/ 23 w 490"/>
                <a:gd name="T5" fmla="*/ 764 h 829"/>
                <a:gd name="T6" fmla="*/ 60 w 490"/>
                <a:gd name="T7" fmla="*/ 736 h 829"/>
                <a:gd name="T8" fmla="*/ 60 w 490"/>
                <a:gd name="T9" fmla="*/ 743 h 829"/>
                <a:gd name="T10" fmla="*/ 352 w 490"/>
                <a:gd name="T11" fmla="*/ 788 h 829"/>
                <a:gd name="T12" fmla="*/ 282 w 490"/>
                <a:gd name="T13" fmla="*/ 828 h 829"/>
                <a:gd name="T14" fmla="*/ 361 w 490"/>
                <a:gd name="T15" fmla="*/ 800 h 829"/>
                <a:gd name="T16" fmla="*/ 361 w 490"/>
                <a:gd name="T17" fmla="*/ 800 h 829"/>
                <a:gd name="T18" fmla="*/ 362 w 490"/>
                <a:gd name="T19" fmla="*/ 814 h 829"/>
                <a:gd name="T20" fmla="*/ 362 w 490"/>
                <a:gd name="T21" fmla="*/ 829 h 829"/>
                <a:gd name="T22" fmla="*/ 414 w 490"/>
                <a:gd name="T23" fmla="*/ 829 h 829"/>
                <a:gd name="T24" fmla="*/ 449 w 490"/>
                <a:gd name="T25" fmla="*/ 764 h 829"/>
                <a:gd name="T26" fmla="*/ 182 w 490"/>
                <a:gd name="T27" fmla="*/ 613 h 829"/>
                <a:gd name="T28" fmla="*/ 182 w 490"/>
                <a:gd name="T29" fmla="*/ 622 h 829"/>
                <a:gd name="T30" fmla="*/ 182 w 490"/>
                <a:gd name="T31" fmla="*/ 622 h 829"/>
                <a:gd name="T32" fmla="*/ 181 w 490"/>
                <a:gd name="T33" fmla="*/ 628 h 829"/>
                <a:gd name="T34" fmla="*/ 181 w 490"/>
                <a:gd name="T35" fmla="*/ 628 h 829"/>
                <a:gd name="T36" fmla="*/ 180 w 490"/>
                <a:gd name="T37" fmla="*/ 629 h 829"/>
                <a:gd name="T38" fmla="*/ 180 w 490"/>
                <a:gd name="T39" fmla="*/ 629 h 829"/>
                <a:gd name="T40" fmla="*/ 180 w 490"/>
                <a:gd name="T41" fmla="*/ 630 h 829"/>
                <a:gd name="T42" fmla="*/ 180 w 490"/>
                <a:gd name="T43" fmla="*/ 630 h 829"/>
                <a:gd name="T44" fmla="*/ 178 w 490"/>
                <a:gd name="T45" fmla="*/ 632 h 829"/>
                <a:gd name="T46" fmla="*/ 178 w 490"/>
                <a:gd name="T47" fmla="*/ 632 h 829"/>
                <a:gd name="T48" fmla="*/ 177 w 490"/>
                <a:gd name="T49" fmla="*/ 633 h 829"/>
                <a:gd name="T50" fmla="*/ 177 w 490"/>
                <a:gd name="T51" fmla="*/ 633 h 829"/>
                <a:gd name="T52" fmla="*/ 177 w 490"/>
                <a:gd name="T53" fmla="*/ 633 h 829"/>
                <a:gd name="T54" fmla="*/ 177 w 490"/>
                <a:gd name="T55" fmla="*/ 633 h 829"/>
                <a:gd name="T56" fmla="*/ 177 w 490"/>
                <a:gd name="T57" fmla="*/ 633 h 829"/>
                <a:gd name="T58" fmla="*/ 177 w 490"/>
                <a:gd name="T59" fmla="*/ 633 h 829"/>
                <a:gd name="T60" fmla="*/ 176 w 490"/>
                <a:gd name="T61" fmla="*/ 634 h 829"/>
                <a:gd name="T62" fmla="*/ 147 w 490"/>
                <a:gd name="T63" fmla="*/ 651 h 829"/>
                <a:gd name="T64" fmla="*/ 128 w 490"/>
                <a:gd name="T65" fmla="*/ 644 h 829"/>
                <a:gd name="T66" fmla="*/ 117 w 490"/>
                <a:gd name="T67" fmla="*/ 633 h 829"/>
                <a:gd name="T68" fmla="*/ 117 w 490"/>
                <a:gd name="T69" fmla="*/ 633 h 829"/>
                <a:gd name="T70" fmla="*/ 112 w 490"/>
                <a:gd name="T71" fmla="*/ 622 h 829"/>
                <a:gd name="T72" fmla="*/ 112 w 490"/>
                <a:gd name="T73" fmla="*/ 622 h 829"/>
                <a:gd name="T74" fmla="*/ 114 w 490"/>
                <a:gd name="T75" fmla="*/ 616 h 829"/>
                <a:gd name="T76" fmla="*/ 116 w 490"/>
                <a:gd name="T77" fmla="*/ 614 h 829"/>
                <a:gd name="T78" fmla="*/ 114 w 490"/>
                <a:gd name="T79" fmla="*/ 611 h 829"/>
                <a:gd name="T80" fmla="*/ 4 w 490"/>
                <a:gd name="T81" fmla="*/ 504 h 829"/>
                <a:gd name="T82" fmla="*/ 62 w 490"/>
                <a:gd name="T83" fmla="*/ 603 h 829"/>
                <a:gd name="T84" fmla="*/ 4 w 490"/>
                <a:gd name="T85" fmla="*/ 504 h 829"/>
                <a:gd name="T86" fmla="*/ 4 w 490"/>
                <a:gd name="T87" fmla="*/ 469 h 829"/>
                <a:gd name="T88" fmla="*/ 5 w 490"/>
                <a:gd name="T89" fmla="*/ 84 h 829"/>
                <a:gd name="T90" fmla="*/ 0 w 490"/>
                <a:gd name="T91" fmla="*/ 0 h 829"/>
                <a:gd name="T92" fmla="*/ 3 w 490"/>
                <a:gd name="T93" fmla="*/ 12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90" h="829">
                  <a:moveTo>
                    <a:pt x="114" y="611"/>
                  </a:moveTo>
                  <a:cubicBezTo>
                    <a:pt x="4" y="675"/>
                    <a:pt x="4" y="675"/>
                    <a:pt x="4" y="675"/>
                  </a:cubicBezTo>
                  <a:cubicBezTo>
                    <a:pt x="4" y="717"/>
                    <a:pt x="4" y="749"/>
                    <a:pt x="4" y="772"/>
                  </a:cubicBezTo>
                  <a:cubicBezTo>
                    <a:pt x="4" y="772"/>
                    <a:pt x="4" y="772"/>
                    <a:pt x="4" y="773"/>
                  </a:cubicBezTo>
                  <a:cubicBezTo>
                    <a:pt x="4" y="772"/>
                    <a:pt x="5" y="772"/>
                    <a:pt x="5" y="772"/>
                  </a:cubicBezTo>
                  <a:cubicBezTo>
                    <a:pt x="12" y="772"/>
                    <a:pt x="18" y="768"/>
                    <a:pt x="23" y="764"/>
                  </a:cubicBezTo>
                  <a:cubicBezTo>
                    <a:pt x="35" y="756"/>
                    <a:pt x="47" y="745"/>
                    <a:pt x="60" y="736"/>
                  </a:cubicBezTo>
                  <a:cubicBezTo>
                    <a:pt x="60" y="736"/>
                    <a:pt x="60" y="736"/>
                    <a:pt x="60" y="736"/>
                  </a:cubicBezTo>
                  <a:cubicBezTo>
                    <a:pt x="60" y="736"/>
                    <a:pt x="60" y="735"/>
                    <a:pt x="60" y="735"/>
                  </a:cubicBezTo>
                  <a:cubicBezTo>
                    <a:pt x="60" y="735"/>
                    <a:pt x="60" y="738"/>
                    <a:pt x="60" y="743"/>
                  </a:cubicBezTo>
                  <a:cubicBezTo>
                    <a:pt x="167" y="681"/>
                    <a:pt x="167" y="681"/>
                    <a:pt x="167" y="681"/>
                  </a:cubicBezTo>
                  <a:cubicBezTo>
                    <a:pt x="352" y="788"/>
                    <a:pt x="352" y="788"/>
                    <a:pt x="352" y="788"/>
                  </a:cubicBezTo>
                  <a:cubicBezTo>
                    <a:pt x="282" y="828"/>
                    <a:pt x="282" y="828"/>
                    <a:pt x="282" y="828"/>
                  </a:cubicBezTo>
                  <a:cubicBezTo>
                    <a:pt x="282" y="828"/>
                    <a:pt x="282" y="828"/>
                    <a:pt x="282" y="828"/>
                  </a:cubicBezTo>
                  <a:cubicBezTo>
                    <a:pt x="352" y="788"/>
                    <a:pt x="352" y="788"/>
                    <a:pt x="352" y="788"/>
                  </a:cubicBezTo>
                  <a:cubicBezTo>
                    <a:pt x="356" y="790"/>
                    <a:pt x="359" y="795"/>
                    <a:pt x="361" y="800"/>
                  </a:cubicBezTo>
                  <a:cubicBezTo>
                    <a:pt x="361" y="800"/>
                    <a:pt x="361" y="800"/>
                    <a:pt x="361" y="800"/>
                  </a:cubicBezTo>
                  <a:cubicBezTo>
                    <a:pt x="361" y="800"/>
                    <a:pt x="361" y="800"/>
                    <a:pt x="361" y="800"/>
                  </a:cubicBezTo>
                  <a:cubicBezTo>
                    <a:pt x="361" y="802"/>
                    <a:pt x="362" y="803"/>
                    <a:pt x="362" y="805"/>
                  </a:cubicBezTo>
                  <a:cubicBezTo>
                    <a:pt x="362" y="814"/>
                    <a:pt x="362" y="814"/>
                    <a:pt x="362" y="814"/>
                  </a:cubicBezTo>
                  <a:cubicBezTo>
                    <a:pt x="362" y="818"/>
                    <a:pt x="362" y="821"/>
                    <a:pt x="362" y="825"/>
                  </a:cubicBezTo>
                  <a:cubicBezTo>
                    <a:pt x="362" y="826"/>
                    <a:pt x="362" y="827"/>
                    <a:pt x="362" y="829"/>
                  </a:cubicBezTo>
                  <a:cubicBezTo>
                    <a:pt x="378" y="829"/>
                    <a:pt x="395" y="829"/>
                    <a:pt x="412" y="829"/>
                  </a:cubicBezTo>
                  <a:cubicBezTo>
                    <a:pt x="412" y="829"/>
                    <a:pt x="413" y="829"/>
                    <a:pt x="414" y="829"/>
                  </a:cubicBezTo>
                  <a:cubicBezTo>
                    <a:pt x="445" y="829"/>
                    <a:pt x="467" y="816"/>
                    <a:pt x="490" y="796"/>
                  </a:cubicBezTo>
                  <a:cubicBezTo>
                    <a:pt x="480" y="778"/>
                    <a:pt x="463" y="772"/>
                    <a:pt x="449" y="764"/>
                  </a:cubicBezTo>
                  <a:cubicBezTo>
                    <a:pt x="341" y="701"/>
                    <a:pt x="216" y="629"/>
                    <a:pt x="216" y="629"/>
                  </a:cubicBezTo>
                  <a:cubicBezTo>
                    <a:pt x="205" y="623"/>
                    <a:pt x="194" y="617"/>
                    <a:pt x="182" y="613"/>
                  </a:cubicBezTo>
                  <a:cubicBezTo>
                    <a:pt x="182" y="620"/>
                    <a:pt x="182" y="620"/>
                    <a:pt x="182" y="620"/>
                  </a:cubicBezTo>
                  <a:cubicBezTo>
                    <a:pt x="182" y="622"/>
                    <a:pt x="182" y="622"/>
                    <a:pt x="182" y="622"/>
                  </a:cubicBezTo>
                  <a:cubicBezTo>
                    <a:pt x="182" y="622"/>
                    <a:pt x="182" y="622"/>
                    <a:pt x="182" y="622"/>
                  </a:cubicBezTo>
                  <a:cubicBezTo>
                    <a:pt x="182" y="622"/>
                    <a:pt x="182" y="622"/>
                    <a:pt x="182" y="622"/>
                  </a:cubicBezTo>
                  <a:cubicBezTo>
                    <a:pt x="182" y="622"/>
                    <a:pt x="182" y="622"/>
                    <a:pt x="182" y="622"/>
                  </a:cubicBezTo>
                  <a:cubicBezTo>
                    <a:pt x="182" y="624"/>
                    <a:pt x="182" y="626"/>
                    <a:pt x="181" y="628"/>
                  </a:cubicBezTo>
                  <a:cubicBezTo>
                    <a:pt x="181" y="628"/>
                    <a:pt x="181" y="628"/>
                    <a:pt x="181" y="628"/>
                  </a:cubicBezTo>
                  <a:cubicBezTo>
                    <a:pt x="181" y="628"/>
                    <a:pt x="181" y="628"/>
                    <a:pt x="181" y="628"/>
                  </a:cubicBezTo>
                  <a:cubicBezTo>
                    <a:pt x="181" y="628"/>
                    <a:pt x="181" y="628"/>
                    <a:pt x="181" y="628"/>
                  </a:cubicBezTo>
                  <a:cubicBezTo>
                    <a:pt x="181" y="628"/>
                    <a:pt x="181" y="628"/>
                    <a:pt x="180" y="629"/>
                  </a:cubicBezTo>
                  <a:cubicBezTo>
                    <a:pt x="180" y="628"/>
                    <a:pt x="180" y="628"/>
                    <a:pt x="180" y="628"/>
                  </a:cubicBezTo>
                  <a:cubicBezTo>
                    <a:pt x="180" y="629"/>
                    <a:pt x="180" y="629"/>
                    <a:pt x="180" y="629"/>
                  </a:cubicBezTo>
                  <a:cubicBezTo>
                    <a:pt x="180" y="629"/>
                    <a:pt x="180" y="629"/>
                    <a:pt x="180" y="629"/>
                  </a:cubicBezTo>
                  <a:cubicBezTo>
                    <a:pt x="180" y="630"/>
                    <a:pt x="180" y="630"/>
                    <a:pt x="180" y="630"/>
                  </a:cubicBezTo>
                  <a:cubicBezTo>
                    <a:pt x="180" y="630"/>
                    <a:pt x="180" y="630"/>
                    <a:pt x="180" y="630"/>
                  </a:cubicBezTo>
                  <a:cubicBezTo>
                    <a:pt x="180" y="630"/>
                    <a:pt x="180" y="630"/>
                    <a:pt x="180" y="630"/>
                  </a:cubicBezTo>
                  <a:cubicBezTo>
                    <a:pt x="180" y="630"/>
                    <a:pt x="180" y="630"/>
                    <a:pt x="180" y="630"/>
                  </a:cubicBezTo>
                  <a:cubicBezTo>
                    <a:pt x="179" y="630"/>
                    <a:pt x="179" y="631"/>
                    <a:pt x="178" y="632"/>
                  </a:cubicBezTo>
                  <a:cubicBezTo>
                    <a:pt x="178" y="632"/>
                    <a:pt x="178" y="632"/>
                    <a:pt x="178" y="632"/>
                  </a:cubicBezTo>
                  <a:cubicBezTo>
                    <a:pt x="178" y="632"/>
                    <a:pt x="178" y="632"/>
                    <a:pt x="178" y="632"/>
                  </a:cubicBezTo>
                  <a:cubicBezTo>
                    <a:pt x="178" y="632"/>
                    <a:pt x="178" y="632"/>
                    <a:pt x="178" y="632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7" y="633"/>
                    <a:pt x="177" y="633"/>
                    <a:pt x="177" y="633"/>
                  </a:cubicBezTo>
                  <a:cubicBezTo>
                    <a:pt x="176" y="634"/>
                    <a:pt x="176" y="634"/>
                    <a:pt x="176" y="634"/>
                  </a:cubicBezTo>
                  <a:cubicBezTo>
                    <a:pt x="174" y="636"/>
                    <a:pt x="168" y="643"/>
                    <a:pt x="165" y="645"/>
                  </a:cubicBezTo>
                  <a:cubicBezTo>
                    <a:pt x="161" y="649"/>
                    <a:pt x="154" y="651"/>
                    <a:pt x="147" y="651"/>
                  </a:cubicBezTo>
                  <a:cubicBezTo>
                    <a:pt x="140" y="651"/>
                    <a:pt x="133" y="649"/>
                    <a:pt x="129" y="645"/>
                  </a:cubicBezTo>
                  <a:cubicBezTo>
                    <a:pt x="129" y="645"/>
                    <a:pt x="128" y="644"/>
                    <a:pt x="128" y="644"/>
                  </a:cubicBezTo>
                  <a:cubicBezTo>
                    <a:pt x="125" y="640"/>
                    <a:pt x="121" y="637"/>
                    <a:pt x="118" y="633"/>
                  </a:cubicBezTo>
                  <a:cubicBezTo>
                    <a:pt x="117" y="633"/>
                    <a:pt x="117" y="633"/>
                    <a:pt x="117" y="633"/>
                  </a:cubicBezTo>
                  <a:cubicBezTo>
                    <a:pt x="117" y="633"/>
                    <a:pt x="117" y="633"/>
                    <a:pt x="117" y="633"/>
                  </a:cubicBezTo>
                  <a:cubicBezTo>
                    <a:pt x="117" y="633"/>
                    <a:pt x="117" y="633"/>
                    <a:pt x="117" y="633"/>
                  </a:cubicBezTo>
                  <a:cubicBezTo>
                    <a:pt x="116" y="631"/>
                    <a:pt x="115" y="630"/>
                    <a:pt x="114" y="628"/>
                  </a:cubicBezTo>
                  <a:cubicBezTo>
                    <a:pt x="113" y="626"/>
                    <a:pt x="112" y="624"/>
                    <a:pt x="112" y="622"/>
                  </a:cubicBezTo>
                  <a:cubicBezTo>
                    <a:pt x="112" y="622"/>
                    <a:pt x="112" y="622"/>
                    <a:pt x="112" y="622"/>
                  </a:cubicBezTo>
                  <a:cubicBezTo>
                    <a:pt x="112" y="622"/>
                    <a:pt x="112" y="622"/>
                    <a:pt x="112" y="622"/>
                  </a:cubicBezTo>
                  <a:cubicBezTo>
                    <a:pt x="112" y="622"/>
                    <a:pt x="112" y="622"/>
                    <a:pt x="112" y="622"/>
                  </a:cubicBezTo>
                  <a:cubicBezTo>
                    <a:pt x="112" y="620"/>
                    <a:pt x="113" y="618"/>
                    <a:pt x="114" y="616"/>
                  </a:cubicBezTo>
                  <a:cubicBezTo>
                    <a:pt x="115" y="615"/>
                    <a:pt x="116" y="614"/>
                    <a:pt x="116" y="614"/>
                  </a:cubicBezTo>
                  <a:cubicBezTo>
                    <a:pt x="116" y="614"/>
                    <a:pt x="116" y="614"/>
                    <a:pt x="116" y="614"/>
                  </a:cubicBezTo>
                  <a:cubicBezTo>
                    <a:pt x="116" y="614"/>
                    <a:pt x="116" y="614"/>
                    <a:pt x="116" y="614"/>
                  </a:cubicBezTo>
                  <a:cubicBezTo>
                    <a:pt x="115" y="613"/>
                    <a:pt x="114" y="612"/>
                    <a:pt x="114" y="611"/>
                  </a:cubicBezTo>
                  <a:moveTo>
                    <a:pt x="4" y="504"/>
                  </a:moveTo>
                  <a:cubicBezTo>
                    <a:pt x="4" y="504"/>
                    <a:pt x="4" y="504"/>
                    <a:pt x="4" y="504"/>
                  </a:cubicBezTo>
                  <a:cubicBezTo>
                    <a:pt x="4" y="556"/>
                    <a:pt x="4" y="599"/>
                    <a:pt x="4" y="637"/>
                  </a:cubicBezTo>
                  <a:cubicBezTo>
                    <a:pt x="62" y="603"/>
                    <a:pt x="62" y="603"/>
                    <a:pt x="62" y="603"/>
                  </a:cubicBezTo>
                  <a:cubicBezTo>
                    <a:pt x="32" y="603"/>
                    <a:pt x="4" y="602"/>
                    <a:pt x="4" y="602"/>
                  </a:cubicBezTo>
                  <a:cubicBezTo>
                    <a:pt x="4" y="504"/>
                    <a:pt x="4" y="504"/>
                    <a:pt x="4" y="504"/>
                  </a:cubicBezTo>
                  <a:moveTo>
                    <a:pt x="5" y="41"/>
                  </a:moveTo>
                  <a:cubicBezTo>
                    <a:pt x="5" y="221"/>
                    <a:pt x="4" y="360"/>
                    <a:pt x="4" y="469"/>
                  </a:cubicBezTo>
                  <a:cubicBezTo>
                    <a:pt x="4" y="469"/>
                    <a:pt x="4" y="469"/>
                    <a:pt x="4" y="469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6" y="62"/>
                    <a:pt x="5" y="4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2" y="8"/>
                    <a:pt x="3" y="12"/>
                  </a:cubicBezTo>
                  <a:cubicBezTo>
                    <a:pt x="2" y="6"/>
                    <a:pt x="1" y="2"/>
                    <a:pt x="0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9" name="任意多边形 138">
              <a:extLst>
                <a:ext uri="{FF2B5EF4-FFF2-40B4-BE49-F238E27FC236}">
                  <a16:creationId xmlns:a16="http://schemas.microsoft.com/office/drawing/2014/main" id="{A20F9227-9E07-432D-92DF-71C1C11A152B}"/>
                </a:ext>
              </a:extLst>
            </p:cNvPr>
            <p:cNvSpPr/>
            <p:nvPr/>
          </p:nvSpPr>
          <p:spPr bwMode="auto">
            <a:xfrm>
              <a:off x="7278689" y="3232151"/>
              <a:ext cx="0" cy="90488"/>
            </a:xfrm>
            <a:custGeom>
              <a:avLst/>
              <a:gdLst>
                <a:gd name="T0" fmla="*/ 0 h 35"/>
                <a:gd name="T1" fmla="*/ 0 h 35"/>
                <a:gd name="T2" fmla="*/ 35 h 35"/>
                <a:gd name="T3" fmla="*/ 35 h 35"/>
                <a:gd name="T4" fmla="*/ 0 h 3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23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0" name="任意多边形 139">
              <a:extLst>
                <a:ext uri="{FF2B5EF4-FFF2-40B4-BE49-F238E27FC236}">
                  <a16:creationId xmlns:a16="http://schemas.microsoft.com/office/drawing/2014/main" id="{F702A3F6-44C7-4878-8171-4565E7EB9D96}"/>
                </a:ext>
              </a:extLst>
            </p:cNvPr>
            <p:cNvSpPr/>
            <p:nvPr/>
          </p:nvSpPr>
          <p:spPr bwMode="auto">
            <a:xfrm>
              <a:off x="7278689" y="3581401"/>
              <a:ext cx="287338" cy="187325"/>
            </a:xfrm>
            <a:custGeom>
              <a:avLst/>
              <a:gdLst>
                <a:gd name="T0" fmla="*/ 58 w 110"/>
                <a:gd name="T1" fmla="*/ 0 h 72"/>
                <a:gd name="T2" fmla="*/ 0 w 110"/>
                <a:gd name="T3" fmla="*/ 34 h 72"/>
                <a:gd name="T4" fmla="*/ 0 w 110"/>
                <a:gd name="T5" fmla="*/ 72 h 72"/>
                <a:gd name="T6" fmla="*/ 110 w 110"/>
                <a:gd name="T7" fmla="*/ 8 h 72"/>
                <a:gd name="T8" fmla="*/ 108 w 110"/>
                <a:gd name="T9" fmla="*/ 4 h 72"/>
                <a:gd name="T10" fmla="*/ 108 w 110"/>
                <a:gd name="T11" fmla="*/ 4 h 72"/>
                <a:gd name="T12" fmla="*/ 108 w 110"/>
                <a:gd name="T13" fmla="*/ 0 h 72"/>
                <a:gd name="T14" fmla="*/ 90 w 110"/>
                <a:gd name="T15" fmla="*/ 0 h 72"/>
                <a:gd name="T16" fmla="*/ 58 w 110"/>
                <a:gd name="T1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72">
                  <a:moveTo>
                    <a:pt x="58" y="0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47"/>
                    <a:pt x="0" y="60"/>
                    <a:pt x="0" y="72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09" y="7"/>
                    <a:pt x="108" y="5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2"/>
                    <a:pt x="108" y="1"/>
                    <a:pt x="108" y="0"/>
                  </a:cubicBezTo>
                  <a:cubicBezTo>
                    <a:pt x="103" y="0"/>
                    <a:pt x="97" y="0"/>
                    <a:pt x="90" y="0"/>
                  </a:cubicBezTo>
                  <a:cubicBezTo>
                    <a:pt x="80" y="0"/>
                    <a:pt x="69" y="0"/>
                    <a:pt x="58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1" name="任意多边形 140">
              <a:extLst>
                <a:ext uri="{FF2B5EF4-FFF2-40B4-BE49-F238E27FC236}">
                  <a16:creationId xmlns:a16="http://schemas.microsoft.com/office/drawing/2014/main" id="{A5F201AD-BF6C-40D8-9C46-DC6DEE701DC2}"/>
                </a:ext>
              </a:extLst>
            </p:cNvPr>
            <p:cNvSpPr/>
            <p:nvPr/>
          </p:nvSpPr>
          <p:spPr bwMode="auto">
            <a:xfrm>
              <a:off x="7129464" y="2008188"/>
              <a:ext cx="152400" cy="2100263"/>
            </a:xfrm>
            <a:custGeom>
              <a:avLst/>
              <a:gdLst>
                <a:gd name="T0" fmla="*/ 53 w 58"/>
                <a:gd name="T1" fmla="*/ 0 h 805"/>
                <a:gd name="T2" fmla="*/ 4 w 58"/>
                <a:gd name="T3" fmla="*/ 64 h 805"/>
                <a:gd name="T4" fmla="*/ 1 w 58"/>
                <a:gd name="T5" fmla="*/ 64 h 805"/>
                <a:gd name="T6" fmla="*/ 1 w 58"/>
                <a:gd name="T7" fmla="*/ 64 h 805"/>
                <a:gd name="T8" fmla="*/ 1 w 58"/>
                <a:gd name="T9" fmla="*/ 64 h 805"/>
                <a:gd name="T10" fmla="*/ 1 w 58"/>
                <a:gd name="T11" fmla="*/ 64 h 805"/>
                <a:gd name="T12" fmla="*/ 0 w 58"/>
                <a:gd name="T13" fmla="*/ 600 h 805"/>
                <a:gd name="T14" fmla="*/ 0 w 58"/>
                <a:gd name="T15" fmla="*/ 804 h 805"/>
                <a:gd name="T16" fmla="*/ 3 w 58"/>
                <a:gd name="T17" fmla="*/ 805 h 805"/>
                <a:gd name="T18" fmla="*/ 3 w 58"/>
                <a:gd name="T19" fmla="*/ 805 h 805"/>
                <a:gd name="T20" fmla="*/ 11 w 58"/>
                <a:gd name="T21" fmla="*/ 802 h 805"/>
                <a:gd name="T22" fmla="*/ 20 w 58"/>
                <a:gd name="T23" fmla="*/ 797 h 805"/>
                <a:gd name="T24" fmla="*/ 28 w 58"/>
                <a:gd name="T25" fmla="*/ 792 h 805"/>
                <a:gd name="T26" fmla="*/ 52 w 58"/>
                <a:gd name="T27" fmla="*/ 778 h 805"/>
                <a:gd name="T28" fmla="*/ 50 w 58"/>
                <a:gd name="T29" fmla="*/ 771 h 805"/>
                <a:gd name="T30" fmla="*/ 51 w 58"/>
                <a:gd name="T31" fmla="*/ 770 h 805"/>
                <a:gd name="T32" fmla="*/ 53 w 58"/>
                <a:gd name="T33" fmla="*/ 772 h 805"/>
                <a:gd name="T34" fmla="*/ 53 w 58"/>
                <a:gd name="T35" fmla="*/ 772 h 805"/>
                <a:gd name="T36" fmla="*/ 57 w 58"/>
                <a:gd name="T37" fmla="*/ 772 h 805"/>
                <a:gd name="T38" fmla="*/ 57 w 58"/>
                <a:gd name="T39" fmla="*/ 675 h 805"/>
                <a:gd name="T40" fmla="*/ 57 w 58"/>
                <a:gd name="T41" fmla="*/ 637 h 805"/>
                <a:gd name="T42" fmla="*/ 57 w 58"/>
                <a:gd name="T43" fmla="*/ 504 h 805"/>
                <a:gd name="T44" fmla="*/ 57 w 58"/>
                <a:gd name="T45" fmla="*/ 469 h 805"/>
                <a:gd name="T46" fmla="*/ 58 w 58"/>
                <a:gd name="T47" fmla="*/ 41 h 805"/>
                <a:gd name="T48" fmla="*/ 56 w 58"/>
                <a:gd name="T49" fmla="*/ 12 h 805"/>
                <a:gd name="T50" fmla="*/ 53 w 58"/>
                <a:gd name="T51" fmla="*/ 0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8" h="805">
                  <a:moveTo>
                    <a:pt x="53" y="0"/>
                  </a:moveTo>
                  <a:cubicBezTo>
                    <a:pt x="44" y="59"/>
                    <a:pt x="14" y="64"/>
                    <a:pt x="4" y="64"/>
                  </a:cubicBezTo>
                  <a:cubicBezTo>
                    <a:pt x="3" y="64"/>
                    <a:pt x="1" y="64"/>
                    <a:pt x="1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0" y="804"/>
                    <a:pt x="0" y="804"/>
                    <a:pt x="0" y="804"/>
                  </a:cubicBezTo>
                  <a:cubicBezTo>
                    <a:pt x="1" y="805"/>
                    <a:pt x="2" y="805"/>
                    <a:pt x="3" y="805"/>
                  </a:cubicBezTo>
                  <a:cubicBezTo>
                    <a:pt x="3" y="805"/>
                    <a:pt x="3" y="805"/>
                    <a:pt x="3" y="805"/>
                  </a:cubicBezTo>
                  <a:cubicBezTo>
                    <a:pt x="6" y="805"/>
                    <a:pt x="9" y="803"/>
                    <a:pt x="11" y="802"/>
                  </a:cubicBezTo>
                  <a:cubicBezTo>
                    <a:pt x="14" y="800"/>
                    <a:pt x="17" y="799"/>
                    <a:pt x="20" y="797"/>
                  </a:cubicBezTo>
                  <a:cubicBezTo>
                    <a:pt x="23" y="795"/>
                    <a:pt x="25" y="794"/>
                    <a:pt x="28" y="792"/>
                  </a:cubicBezTo>
                  <a:cubicBezTo>
                    <a:pt x="36" y="788"/>
                    <a:pt x="44" y="783"/>
                    <a:pt x="52" y="778"/>
                  </a:cubicBezTo>
                  <a:cubicBezTo>
                    <a:pt x="53" y="777"/>
                    <a:pt x="49" y="771"/>
                    <a:pt x="50" y="771"/>
                  </a:cubicBezTo>
                  <a:cubicBezTo>
                    <a:pt x="50" y="770"/>
                    <a:pt x="51" y="770"/>
                    <a:pt x="51" y="770"/>
                  </a:cubicBezTo>
                  <a:cubicBezTo>
                    <a:pt x="51" y="770"/>
                    <a:pt x="52" y="771"/>
                    <a:pt x="53" y="772"/>
                  </a:cubicBezTo>
                  <a:cubicBezTo>
                    <a:pt x="53" y="772"/>
                    <a:pt x="53" y="772"/>
                    <a:pt x="53" y="772"/>
                  </a:cubicBezTo>
                  <a:cubicBezTo>
                    <a:pt x="54" y="772"/>
                    <a:pt x="55" y="772"/>
                    <a:pt x="57" y="772"/>
                  </a:cubicBezTo>
                  <a:cubicBezTo>
                    <a:pt x="57" y="749"/>
                    <a:pt x="57" y="717"/>
                    <a:pt x="57" y="675"/>
                  </a:cubicBezTo>
                  <a:cubicBezTo>
                    <a:pt x="57" y="663"/>
                    <a:pt x="57" y="650"/>
                    <a:pt x="57" y="637"/>
                  </a:cubicBezTo>
                  <a:cubicBezTo>
                    <a:pt x="57" y="599"/>
                    <a:pt x="57" y="556"/>
                    <a:pt x="57" y="504"/>
                  </a:cubicBezTo>
                  <a:cubicBezTo>
                    <a:pt x="57" y="492"/>
                    <a:pt x="57" y="481"/>
                    <a:pt x="57" y="469"/>
                  </a:cubicBezTo>
                  <a:cubicBezTo>
                    <a:pt x="57" y="360"/>
                    <a:pt x="58" y="221"/>
                    <a:pt x="58" y="41"/>
                  </a:cubicBezTo>
                  <a:cubicBezTo>
                    <a:pt x="58" y="30"/>
                    <a:pt x="57" y="20"/>
                    <a:pt x="56" y="12"/>
                  </a:cubicBezTo>
                  <a:cubicBezTo>
                    <a:pt x="55" y="8"/>
                    <a:pt x="54" y="4"/>
                    <a:pt x="53" y="0"/>
                  </a:cubicBezTo>
                </a:path>
              </a:pathLst>
            </a:custGeom>
            <a:solidFill>
              <a:srgbClr val="592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2" name="任意多边形 141">
              <a:extLst>
                <a:ext uri="{FF2B5EF4-FFF2-40B4-BE49-F238E27FC236}">
                  <a16:creationId xmlns:a16="http://schemas.microsoft.com/office/drawing/2014/main" id="{8C7840D2-BD0C-4B7B-B724-29883D544D9B}"/>
                </a:ext>
              </a:extLst>
            </p:cNvPr>
            <p:cNvSpPr/>
            <p:nvPr/>
          </p:nvSpPr>
          <p:spPr bwMode="auto">
            <a:xfrm>
              <a:off x="7129464" y="2176463"/>
              <a:ext cx="3175" cy="1397000"/>
            </a:xfrm>
            <a:custGeom>
              <a:avLst/>
              <a:gdLst>
                <a:gd name="T0" fmla="*/ 2 w 2"/>
                <a:gd name="T1" fmla="*/ 0 h 880"/>
                <a:gd name="T2" fmla="*/ 0 w 2"/>
                <a:gd name="T3" fmla="*/ 880 h 880"/>
                <a:gd name="T4" fmla="*/ 0 w 2"/>
                <a:gd name="T5" fmla="*/ 880 h 880"/>
                <a:gd name="T6" fmla="*/ 2 w 2"/>
                <a:gd name="T7" fmla="*/ 0 h 880"/>
                <a:gd name="T8" fmla="*/ 2 w 2"/>
                <a:gd name="T9" fmla="*/ 0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80">
                  <a:moveTo>
                    <a:pt x="2" y="0"/>
                  </a:moveTo>
                  <a:lnTo>
                    <a:pt x="0" y="880"/>
                  </a:lnTo>
                  <a:lnTo>
                    <a:pt x="0" y="88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735D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3" name="任意多边形 142">
              <a:extLst>
                <a:ext uri="{FF2B5EF4-FFF2-40B4-BE49-F238E27FC236}">
                  <a16:creationId xmlns:a16="http://schemas.microsoft.com/office/drawing/2014/main" id="{79920327-CF88-4E35-A12B-441B372E35AE}"/>
                </a:ext>
              </a:extLst>
            </p:cNvPr>
            <p:cNvSpPr/>
            <p:nvPr/>
          </p:nvSpPr>
          <p:spPr bwMode="auto">
            <a:xfrm>
              <a:off x="7129464" y="2176463"/>
              <a:ext cx="3175" cy="1397000"/>
            </a:xfrm>
            <a:custGeom>
              <a:avLst/>
              <a:gdLst>
                <a:gd name="T0" fmla="*/ 2 w 2"/>
                <a:gd name="T1" fmla="*/ 0 h 880"/>
                <a:gd name="T2" fmla="*/ 0 w 2"/>
                <a:gd name="T3" fmla="*/ 880 h 880"/>
                <a:gd name="T4" fmla="*/ 0 w 2"/>
                <a:gd name="T5" fmla="*/ 880 h 880"/>
                <a:gd name="T6" fmla="*/ 2 w 2"/>
                <a:gd name="T7" fmla="*/ 0 h 880"/>
                <a:gd name="T8" fmla="*/ 2 w 2"/>
                <a:gd name="T9" fmla="*/ 0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80">
                  <a:moveTo>
                    <a:pt x="2" y="0"/>
                  </a:moveTo>
                  <a:lnTo>
                    <a:pt x="0" y="880"/>
                  </a:lnTo>
                  <a:lnTo>
                    <a:pt x="0" y="880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4" name="任意多边形 143">
              <a:extLst>
                <a:ext uri="{FF2B5EF4-FFF2-40B4-BE49-F238E27FC236}">
                  <a16:creationId xmlns:a16="http://schemas.microsoft.com/office/drawing/2014/main" id="{C769B973-680D-4D21-99F6-3F9C1FA666E7}"/>
                </a:ext>
              </a:extLst>
            </p:cNvPr>
            <p:cNvSpPr/>
            <p:nvPr/>
          </p:nvSpPr>
          <p:spPr bwMode="auto">
            <a:xfrm>
              <a:off x="7566026" y="3581401"/>
              <a:ext cx="1588" cy="4763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1 w 1"/>
                <a:gd name="T5" fmla="*/ 2 h 2"/>
                <a:gd name="T6" fmla="*/ 1 w 1"/>
                <a:gd name="T7" fmla="*/ 1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5" name="任意多边形 144">
              <a:extLst>
                <a:ext uri="{FF2B5EF4-FFF2-40B4-BE49-F238E27FC236}">
                  <a16:creationId xmlns:a16="http://schemas.microsoft.com/office/drawing/2014/main" id="{D7D7C060-09BC-42CA-B33A-DFE4E5C5A064}"/>
                </a:ext>
              </a:extLst>
            </p:cNvPr>
            <p:cNvSpPr/>
            <p:nvPr/>
          </p:nvSpPr>
          <p:spPr bwMode="auto">
            <a:xfrm>
              <a:off x="7437439" y="3605213"/>
              <a:ext cx="230188" cy="592138"/>
            </a:xfrm>
            <a:custGeom>
              <a:avLst/>
              <a:gdLst>
                <a:gd name="T0" fmla="*/ 0 w 88"/>
                <a:gd name="T1" fmla="*/ 175 h 227"/>
                <a:gd name="T2" fmla="*/ 5 w 88"/>
                <a:gd name="T3" fmla="*/ 227 h 227"/>
                <a:gd name="T4" fmla="*/ 5 w 88"/>
                <a:gd name="T5" fmla="*/ 227 h 227"/>
                <a:gd name="T6" fmla="*/ 0 w 88"/>
                <a:gd name="T7" fmla="*/ 175 h 227"/>
                <a:gd name="T8" fmla="*/ 79 w 88"/>
                <a:gd name="T9" fmla="*/ 31 h 227"/>
                <a:gd name="T10" fmla="*/ 79 w 88"/>
                <a:gd name="T11" fmla="*/ 31 h 227"/>
                <a:gd name="T12" fmla="*/ 80 w 88"/>
                <a:gd name="T13" fmla="*/ 31 h 227"/>
                <a:gd name="T14" fmla="*/ 79 w 88"/>
                <a:gd name="T15" fmla="*/ 31 h 227"/>
                <a:gd name="T16" fmla="*/ 80 w 88"/>
                <a:gd name="T17" fmla="*/ 24 h 227"/>
                <a:gd name="T18" fmla="*/ 76 w 88"/>
                <a:gd name="T19" fmla="*/ 24 h 227"/>
                <a:gd name="T20" fmla="*/ 74 w 88"/>
                <a:gd name="T21" fmla="*/ 24 h 227"/>
                <a:gd name="T22" fmla="*/ 76 w 88"/>
                <a:gd name="T23" fmla="*/ 24 h 227"/>
                <a:gd name="T24" fmla="*/ 78 w 88"/>
                <a:gd name="T25" fmla="*/ 24 h 227"/>
                <a:gd name="T26" fmla="*/ 80 w 88"/>
                <a:gd name="T27" fmla="*/ 24 h 227"/>
                <a:gd name="T28" fmla="*/ 80 w 88"/>
                <a:gd name="T29" fmla="*/ 24 h 227"/>
                <a:gd name="T30" fmla="*/ 80 w 88"/>
                <a:gd name="T31" fmla="*/ 24 h 227"/>
                <a:gd name="T32" fmla="*/ 88 w 88"/>
                <a:gd name="T33" fmla="*/ 23 h 227"/>
                <a:gd name="T34" fmla="*/ 88 w 88"/>
                <a:gd name="T35" fmla="*/ 23 h 227"/>
                <a:gd name="T36" fmla="*/ 84 w 88"/>
                <a:gd name="T37" fmla="*/ 24 h 227"/>
                <a:gd name="T38" fmla="*/ 84 w 88"/>
                <a:gd name="T39" fmla="*/ 24 h 227"/>
                <a:gd name="T40" fmla="*/ 84 w 88"/>
                <a:gd name="T41" fmla="*/ 24 h 227"/>
                <a:gd name="T42" fmla="*/ 86 w 88"/>
                <a:gd name="T43" fmla="*/ 23 h 227"/>
                <a:gd name="T44" fmla="*/ 87 w 88"/>
                <a:gd name="T45" fmla="*/ 23 h 227"/>
                <a:gd name="T46" fmla="*/ 87 w 88"/>
                <a:gd name="T47" fmla="*/ 23 h 227"/>
                <a:gd name="T48" fmla="*/ 88 w 88"/>
                <a:gd name="T49" fmla="*/ 23 h 227"/>
                <a:gd name="T50" fmla="*/ 88 w 88"/>
                <a:gd name="T51" fmla="*/ 23 h 227"/>
                <a:gd name="T52" fmla="*/ 88 w 88"/>
                <a:gd name="T53" fmla="*/ 23 h 227"/>
                <a:gd name="T54" fmla="*/ 88 w 88"/>
                <a:gd name="T55" fmla="*/ 23 h 227"/>
                <a:gd name="T56" fmla="*/ 88 w 88"/>
                <a:gd name="T57" fmla="*/ 23 h 227"/>
                <a:gd name="T58" fmla="*/ 52 w 88"/>
                <a:gd name="T59" fmla="*/ 17 h 227"/>
                <a:gd name="T60" fmla="*/ 53 w 88"/>
                <a:gd name="T61" fmla="*/ 18 h 227"/>
                <a:gd name="T62" fmla="*/ 54 w 88"/>
                <a:gd name="T63" fmla="*/ 19 h 227"/>
                <a:gd name="T64" fmla="*/ 52 w 88"/>
                <a:gd name="T65" fmla="*/ 17 h 227"/>
                <a:gd name="T66" fmla="*/ 49 w 88"/>
                <a:gd name="T67" fmla="*/ 15 h 227"/>
                <a:gd name="T68" fmla="*/ 50 w 88"/>
                <a:gd name="T69" fmla="*/ 15 h 227"/>
                <a:gd name="T70" fmla="*/ 51 w 88"/>
                <a:gd name="T71" fmla="*/ 16 h 227"/>
                <a:gd name="T72" fmla="*/ 49 w 88"/>
                <a:gd name="T73" fmla="*/ 15 h 227"/>
                <a:gd name="T74" fmla="*/ 49 w 88"/>
                <a:gd name="T75" fmla="*/ 14 h 227"/>
                <a:gd name="T76" fmla="*/ 49 w 88"/>
                <a:gd name="T77" fmla="*/ 14 h 227"/>
                <a:gd name="T78" fmla="*/ 49 w 88"/>
                <a:gd name="T79" fmla="*/ 14 h 227"/>
                <a:gd name="T80" fmla="*/ 49 w 88"/>
                <a:gd name="T81" fmla="*/ 14 h 227"/>
                <a:gd name="T82" fmla="*/ 48 w 88"/>
                <a:gd name="T83" fmla="*/ 13 h 227"/>
                <a:gd name="T84" fmla="*/ 49 w 88"/>
                <a:gd name="T85" fmla="*/ 14 h 227"/>
                <a:gd name="T86" fmla="*/ 49 w 88"/>
                <a:gd name="T87" fmla="*/ 14 h 227"/>
                <a:gd name="T88" fmla="*/ 48 w 88"/>
                <a:gd name="T89" fmla="*/ 13 h 227"/>
                <a:gd name="T90" fmla="*/ 88 w 88"/>
                <a:gd name="T91" fmla="*/ 0 h 227"/>
                <a:gd name="T92" fmla="*/ 76 w 88"/>
                <a:gd name="T93" fmla="*/ 1 h 227"/>
                <a:gd name="T94" fmla="*/ 72 w 88"/>
                <a:gd name="T95" fmla="*/ 1 h 227"/>
                <a:gd name="T96" fmla="*/ 76 w 88"/>
                <a:gd name="T97" fmla="*/ 1 h 227"/>
                <a:gd name="T98" fmla="*/ 88 w 88"/>
                <a:gd name="T99" fmla="*/ 0 h 227"/>
                <a:gd name="T100" fmla="*/ 88 w 88"/>
                <a:gd name="T101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" h="227">
                  <a:moveTo>
                    <a:pt x="0" y="175"/>
                  </a:moveTo>
                  <a:cubicBezTo>
                    <a:pt x="1" y="190"/>
                    <a:pt x="3" y="207"/>
                    <a:pt x="5" y="227"/>
                  </a:cubicBezTo>
                  <a:cubicBezTo>
                    <a:pt x="5" y="227"/>
                    <a:pt x="5" y="227"/>
                    <a:pt x="5" y="227"/>
                  </a:cubicBezTo>
                  <a:cubicBezTo>
                    <a:pt x="3" y="210"/>
                    <a:pt x="2" y="193"/>
                    <a:pt x="0" y="175"/>
                  </a:cubicBezTo>
                  <a:moveTo>
                    <a:pt x="79" y="31"/>
                  </a:moveTo>
                  <a:cubicBezTo>
                    <a:pt x="79" y="31"/>
                    <a:pt x="79" y="31"/>
                    <a:pt x="79" y="31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9" y="31"/>
                    <a:pt x="79" y="31"/>
                    <a:pt x="79" y="31"/>
                  </a:cubicBezTo>
                  <a:moveTo>
                    <a:pt x="80" y="24"/>
                  </a:moveTo>
                  <a:cubicBezTo>
                    <a:pt x="78" y="24"/>
                    <a:pt x="77" y="24"/>
                    <a:pt x="76" y="24"/>
                  </a:cubicBezTo>
                  <a:cubicBezTo>
                    <a:pt x="75" y="24"/>
                    <a:pt x="75" y="24"/>
                    <a:pt x="74" y="24"/>
                  </a:cubicBezTo>
                  <a:cubicBezTo>
                    <a:pt x="75" y="24"/>
                    <a:pt x="76" y="24"/>
                    <a:pt x="76" y="24"/>
                  </a:cubicBezTo>
                  <a:cubicBezTo>
                    <a:pt x="77" y="24"/>
                    <a:pt x="77" y="24"/>
                    <a:pt x="78" y="24"/>
                  </a:cubicBezTo>
                  <a:cubicBezTo>
                    <a:pt x="78" y="24"/>
                    <a:pt x="79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moveTo>
                    <a:pt x="88" y="23"/>
                  </a:moveTo>
                  <a:cubicBezTo>
                    <a:pt x="88" y="23"/>
                    <a:pt x="88" y="23"/>
                    <a:pt x="88" y="23"/>
                  </a:cubicBezTo>
                  <a:cubicBezTo>
                    <a:pt x="87" y="23"/>
                    <a:pt x="85" y="23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5" y="23"/>
                    <a:pt x="85" y="23"/>
                    <a:pt x="86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moveTo>
                    <a:pt x="52" y="17"/>
                  </a:moveTo>
                  <a:cubicBezTo>
                    <a:pt x="52" y="17"/>
                    <a:pt x="52" y="18"/>
                    <a:pt x="53" y="18"/>
                  </a:cubicBezTo>
                  <a:cubicBezTo>
                    <a:pt x="53" y="18"/>
                    <a:pt x="54" y="19"/>
                    <a:pt x="54" y="19"/>
                  </a:cubicBezTo>
                  <a:cubicBezTo>
                    <a:pt x="53" y="18"/>
                    <a:pt x="52" y="18"/>
                    <a:pt x="52" y="17"/>
                  </a:cubicBezTo>
                  <a:moveTo>
                    <a:pt x="49" y="15"/>
                  </a:moveTo>
                  <a:cubicBezTo>
                    <a:pt x="50" y="15"/>
                    <a:pt x="50" y="15"/>
                    <a:pt x="50" y="15"/>
                  </a:cubicBezTo>
                  <a:cubicBezTo>
                    <a:pt x="50" y="15"/>
                    <a:pt x="50" y="16"/>
                    <a:pt x="51" y="16"/>
                  </a:cubicBezTo>
                  <a:cubicBezTo>
                    <a:pt x="50" y="16"/>
                    <a:pt x="50" y="15"/>
                    <a:pt x="49" y="15"/>
                  </a:cubicBezTo>
                  <a:moveTo>
                    <a:pt x="49" y="14"/>
                  </a:move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moveTo>
                    <a:pt x="48" y="13"/>
                  </a:move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9" y="14"/>
                    <a:pt x="48" y="13"/>
                  </a:cubicBezTo>
                  <a:moveTo>
                    <a:pt x="88" y="0"/>
                  </a:moveTo>
                  <a:cubicBezTo>
                    <a:pt x="84" y="1"/>
                    <a:pt x="80" y="1"/>
                    <a:pt x="76" y="1"/>
                  </a:cubicBezTo>
                  <a:cubicBezTo>
                    <a:pt x="75" y="1"/>
                    <a:pt x="73" y="1"/>
                    <a:pt x="72" y="1"/>
                  </a:cubicBezTo>
                  <a:cubicBezTo>
                    <a:pt x="73" y="1"/>
                    <a:pt x="75" y="1"/>
                    <a:pt x="76" y="1"/>
                  </a:cubicBezTo>
                  <a:cubicBezTo>
                    <a:pt x="80" y="1"/>
                    <a:pt x="84" y="1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6" name="任意多边形 145">
              <a:extLst>
                <a:ext uri="{FF2B5EF4-FFF2-40B4-BE49-F238E27FC236}">
                  <a16:creationId xmlns:a16="http://schemas.microsoft.com/office/drawing/2014/main" id="{0465873B-B70C-4264-80CB-867F44C7119C}"/>
                </a:ext>
              </a:extLst>
            </p:cNvPr>
            <p:cNvSpPr/>
            <p:nvPr/>
          </p:nvSpPr>
          <p:spPr bwMode="auto">
            <a:xfrm>
              <a:off x="7529514" y="4064001"/>
              <a:ext cx="682625" cy="558800"/>
            </a:xfrm>
            <a:custGeom>
              <a:avLst/>
              <a:gdLst>
                <a:gd name="T0" fmla="*/ 9 w 262"/>
                <a:gd name="T1" fmla="*/ 207 h 214"/>
                <a:gd name="T2" fmla="*/ 9 w 262"/>
                <a:gd name="T3" fmla="*/ 163 h 214"/>
                <a:gd name="T4" fmla="*/ 0 w 262"/>
                <a:gd name="T5" fmla="*/ 146 h 214"/>
                <a:gd name="T6" fmla="*/ 252 w 262"/>
                <a:gd name="T7" fmla="*/ 0 h 214"/>
                <a:gd name="T8" fmla="*/ 262 w 262"/>
                <a:gd name="T9" fmla="*/ 17 h 214"/>
                <a:gd name="T10" fmla="*/ 262 w 262"/>
                <a:gd name="T11" fmla="*/ 62 h 214"/>
                <a:gd name="T12" fmla="*/ 259 w 262"/>
                <a:gd name="T13" fmla="*/ 68 h 214"/>
                <a:gd name="T14" fmla="*/ 7 w 262"/>
                <a:gd name="T15" fmla="*/ 214 h 214"/>
                <a:gd name="T16" fmla="*/ 9 w 262"/>
                <a:gd name="T17" fmla="*/ 20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214">
                  <a:moveTo>
                    <a:pt x="9" y="207"/>
                  </a:moveTo>
                  <a:cubicBezTo>
                    <a:pt x="9" y="163"/>
                    <a:pt x="9" y="163"/>
                    <a:pt x="9" y="163"/>
                  </a:cubicBezTo>
                  <a:cubicBezTo>
                    <a:pt x="9" y="156"/>
                    <a:pt x="5" y="149"/>
                    <a:pt x="0" y="146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57" y="3"/>
                    <a:pt x="262" y="11"/>
                    <a:pt x="262" y="17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2" y="65"/>
                    <a:pt x="260" y="67"/>
                    <a:pt x="259" y="68"/>
                  </a:cubicBezTo>
                  <a:cubicBezTo>
                    <a:pt x="175" y="117"/>
                    <a:pt x="91" y="165"/>
                    <a:pt x="7" y="214"/>
                  </a:cubicBezTo>
                  <a:cubicBezTo>
                    <a:pt x="9" y="212"/>
                    <a:pt x="9" y="210"/>
                    <a:pt x="9" y="207"/>
                  </a:cubicBezTo>
                </a:path>
              </a:pathLst>
            </a:custGeom>
            <a:solidFill>
              <a:srgbClr val="9F3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7" name="任意多边形 146">
              <a:extLst>
                <a:ext uri="{FF2B5EF4-FFF2-40B4-BE49-F238E27FC236}">
                  <a16:creationId xmlns:a16="http://schemas.microsoft.com/office/drawing/2014/main" id="{342883F7-A7C3-4742-BBA2-CF5FDD744917}"/>
                </a:ext>
              </a:extLst>
            </p:cNvPr>
            <p:cNvSpPr/>
            <p:nvPr/>
          </p:nvSpPr>
          <p:spPr bwMode="auto">
            <a:xfrm>
              <a:off x="7424739" y="3784601"/>
              <a:ext cx="762000" cy="660400"/>
            </a:xfrm>
            <a:custGeom>
              <a:avLst/>
              <a:gdLst>
                <a:gd name="T0" fmla="*/ 292 w 292"/>
                <a:gd name="T1" fmla="*/ 107 h 253"/>
                <a:gd name="T2" fmla="*/ 40 w 292"/>
                <a:gd name="T3" fmla="*/ 253 h 253"/>
                <a:gd name="T4" fmla="*/ 19 w 292"/>
                <a:gd name="T5" fmla="*/ 241 h 253"/>
                <a:gd name="T6" fmla="*/ 0 w 292"/>
                <a:gd name="T7" fmla="*/ 62 h 253"/>
                <a:gd name="T8" fmla="*/ 107 w 292"/>
                <a:gd name="T9" fmla="*/ 0 h 253"/>
                <a:gd name="T10" fmla="*/ 292 w 292"/>
                <a:gd name="T11" fmla="*/ 10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" h="253">
                  <a:moveTo>
                    <a:pt x="292" y="107"/>
                  </a:moveTo>
                  <a:cubicBezTo>
                    <a:pt x="40" y="253"/>
                    <a:pt x="40" y="253"/>
                    <a:pt x="40" y="253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3" y="181"/>
                    <a:pt x="6" y="121"/>
                    <a:pt x="0" y="62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292" y="107"/>
                    <a:pt x="292" y="107"/>
                    <a:pt x="292" y="107"/>
                  </a:cubicBezTo>
                </a:path>
              </a:pathLst>
            </a:custGeom>
            <a:solidFill>
              <a:srgbClr val="BB42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8" name="任意多边形 147">
              <a:extLst>
                <a:ext uri="{FF2B5EF4-FFF2-40B4-BE49-F238E27FC236}">
                  <a16:creationId xmlns:a16="http://schemas.microsoft.com/office/drawing/2014/main" id="{83571583-8277-4336-A128-E90C79B5F2C5}"/>
                </a:ext>
              </a:extLst>
            </p:cNvPr>
            <p:cNvSpPr/>
            <p:nvPr/>
          </p:nvSpPr>
          <p:spPr bwMode="auto">
            <a:xfrm>
              <a:off x="7473951" y="4413251"/>
              <a:ext cx="77788" cy="211138"/>
            </a:xfrm>
            <a:custGeom>
              <a:avLst/>
              <a:gdLst>
                <a:gd name="T0" fmla="*/ 26 w 30"/>
                <a:gd name="T1" fmla="*/ 80 h 81"/>
                <a:gd name="T2" fmla="*/ 21 w 30"/>
                <a:gd name="T3" fmla="*/ 79 h 81"/>
                <a:gd name="T4" fmla="*/ 7 w 30"/>
                <a:gd name="T5" fmla="*/ 71 h 81"/>
                <a:gd name="T6" fmla="*/ 6 w 30"/>
                <a:gd name="T7" fmla="*/ 60 h 81"/>
                <a:gd name="T8" fmla="*/ 15 w 30"/>
                <a:gd name="T9" fmla="*/ 65 h 81"/>
                <a:gd name="T10" fmla="*/ 18 w 30"/>
                <a:gd name="T11" fmla="*/ 64 h 81"/>
                <a:gd name="T12" fmla="*/ 21 w 30"/>
                <a:gd name="T13" fmla="*/ 59 h 81"/>
                <a:gd name="T14" fmla="*/ 21 w 30"/>
                <a:gd name="T15" fmla="*/ 34 h 81"/>
                <a:gd name="T16" fmla="*/ 11 w 30"/>
                <a:gd name="T17" fmla="*/ 17 h 81"/>
                <a:gd name="T18" fmla="*/ 1 w 30"/>
                <a:gd name="T19" fmla="*/ 11 h 81"/>
                <a:gd name="T20" fmla="*/ 0 w 30"/>
                <a:gd name="T21" fmla="*/ 0 h 81"/>
                <a:gd name="T22" fmla="*/ 21 w 30"/>
                <a:gd name="T23" fmla="*/ 12 h 81"/>
                <a:gd name="T24" fmla="*/ 30 w 30"/>
                <a:gd name="T25" fmla="*/ 29 h 81"/>
                <a:gd name="T26" fmla="*/ 30 w 30"/>
                <a:gd name="T27" fmla="*/ 73 h 81"/>
                <a:gd name="T28" fmla="*/ 28 w 30"/>
                <a:gd name="T29" fmla="*/ 80 h 81"/>
                <a:gd name="T30" fmla="*/ 26 w 30"/>
                <a:gd name="T31" fmla="*/ 8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81">
                  <a:moveTo>
                    <a:pt x="26" y="80"/>
                  </a:moveTo>
                  <a:cubicBezTo>
                    <a:pt x="25" y="81"/>
                    <a:pt x="22" y="80"/>
                    <a:pt x="21" y="79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68"/>
                    <a:pt x="6" y="64"/>
                    <a:pt x="6" y="60"/>
                  </a:cubicBezTo>
                  <a:cubicBezTo>
                    <a:pt x="12" y="63"/>
                    <a:pt x="13" y="64"/>
                    <a:pt x="15" y="65"/>
                  </a:cubicBezTo>
                  <a:cubicBezTo>
                    <a:pt x="17" y="65"/>
                    <a:pt x="18" y="64"/>
                    <a:pt x="18" y="64"/>
                  </a:cubicBezTo>
                  <a:cubicBezTo>
                    <a:pt x="20" y="63"/>
                    <a:pt x="21" y="61"/>
                    <a:pt x="21" y="59"/>
                  </a:cubicBezTo>
                  <a:cubicBezTo>
                    <a:pt x="21" y="58"/>
                    <a:pt x="21" y="60"/>
                    <a:pt x="21" y="34"/>
                  </a:cubicBezTo>
                  <a:cubicBezTo>
                    <a:pt x="21" y="28"/>
                    <a:pt x="17" y="20"/>
                    <a:pt x="11" y="17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0" y="3"/>
                    <a:pt x="0" y="0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6" y="15"/>
                    <a:pt x="30" y="22"/>
                    <a:pt x="30" y="29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6"/>
                    <a:pt x="30" y="78"/>
                    <a:pt x="28" y="80"/>
                  </a:cubicBezTo>
                  <a:cubicBezTo>
                    <a:pt x="27" y="80"/>
                    <a:pt x="27" y="80"/>
                    <a:pt x="26" y="80"/>
                  </a:cubicBezTo>
                </a:path>
              </a:pathLst>
            </a:custGeom>
            <a:solidFill>
              <a:srgbClr val="BB42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9" name="任意多边形 148">
              <a:extLst>
                <a:ext uri="{FF2B5EF4-FFF2-40B4-BE49-F238E27FC236}">
                  <a16:creationId xmlns:a16="http://schemas.microsoft.com/office/drawing/2014/main" id="{609AFD70-DFF5-4B62-BEBB-EBFE5C717E9C}"/>
                </a:ext>
              </a:extLst>
            </p:cNvPr>
            <p:cNvSpPr/>
            <p:nvPr/>
          </p:nvSpPr>
          <p:spPr bwMode="auto">
            <a:xfrm>
              <a:off x="7477126" y="4441826"/>
              <a:ext cx="52388" cy="128588"/>
            </a:xfrm>
            <a:custGeom>
              <a:avLst/>
              <a:gdLst>
                <a:gd name="T0" fmla="*/ 20 w 20"/>
                <a:gd name="T1" fmla="*/ 48 h 49"/>
                <a:gd name="T2" fmla="*/ 4 w 20"/>
                <a:gd name="T3" fmla="*/ 39 h 49"/>
                <a:gd name="T4" fmla="*/ 0 w 20"/>
                <a:gd name="T5" fmla="*/ 0 h 49"/>
                <a:gd name="T6" fmla="*/ 10 w 20"/>
                <a:gd name="T7" fmla="*/ 6 h 49"/>
                <a:gd name="T8" fmla="*/ 20 w 20"/>
                <a:gd name="T9" fmla="*/ 23 h 49"/>
                <a:gd name="T10" fmla="*/ 20 w 20"/>
                <a:gd name="T11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49">
                  <a:moveTo>
                    <a:pt x="20" y="48"/>
                  </a:moveTo>
                  <a:cubicBezTo>
                    <a:pt x="19" y="48"/>
                    <a:pt x="20" y="48"/>
                    <a:pt x="4" y="39"/>
                  </a:cubicBezTo>
                  <a:cubicBezTo>
                    <a:pt x="2" y="26"/>
                    <a:pt x="1" y="13"/>
                    <a:pt x="0" y="0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6" y="9"/>
                    <a:pt x="20" y="17"/>
                    <a:pt x="20" y="23"/>
                  </a:cubicBezTo>
                  <a:cubicBezTo>
                    <a:pt x="20" y="49"/>
                    <a:pt x="20" y="47"/>
                    <a:pt x="20" y="48"/>
                  </a:cubicBezTo>
                </a:path>
              </a:pathLst>
            </a:custGeom>
            <a:solidFill>
              <a:srgbClr val="C8D1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0" name="任意多边形 149">
              <a:extLst>
                <a:ext uri="{FF2B5EF4-FFF2-40B4-BE49-F238E27FC236}">
                  <a16:creationId xmlns:a16="http://schemas.microsoft.com/office/drawing/2014/main" id="{B2BDFE6D-9F37-4077-80DA-B475ABB42525}"/>
                </a:ext>
              </a:extLst>
            </p:cNvPr>
            <p:cNvSpPr/>
            <p:nvPr/>
          </p:nvSpPr>
          <p:spPr bwMode="auto">
            <a:xfrm>
              <a:off x="7486651" y="4543426"/>
              <a:ext cx="42863" cy="39688"/>
            </a:xfrm>
            <a:custGeom>
              <a:avLst/>
              <a:gdLst>
                <a:gd name="T0" fmla="*/ 13 w 16"/>
                <a:gd name="T1" fmla="*/ 14 h 15"/>
                <a:gd name="T2" fmla="*/ 6 w 16"/>
                <a:gd name="T3" fmla="*/ 13 h 15"/>
                <a:gd name="T4" fmla="*/ 1 w 16"/>
                <a:gd name="T5" fmla="*/ 10 h 15"/>
                <a:gd name="T6" fmla="*/ 1 w 16"/>
                <a:gd name="T7" fmla="*/ 10 h 15"/>
                <a:gd name="T8" fmla="*/ 0 w 16"/>
                <a:gd name="T9" fmla="*/ 0 h 15"/>
                <a:gd name="T10" fmla="*/ 16 w 16"/>
                <a:gd name="T11" fmla="*/ 9 h 15"/>
                <a:gd name="T12" fmla="*/ 13 w 16"/>
                <a:gd name="T13" fmla="*/ 14 h 15"/>
                <a:gd name="T14" fmla="*/ 13 w 16"/>
                <a:gd name="T1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5">
                  <a:moveTo>
                    <a:pt x="13" y="14"/>
                  </a:moveTo>
                  <a:cubicBezTo>
                    <a:pt x="11" y="15"/>
                    <a:pt x="9" y="15"/>
                    <a:pt x="6" y="13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0"/>
                  </a:cubicBezTo>
                  <a:cubicBezTo>
                    <a:pt x="15" y="9"/>
                    <a:pt x="15" y="9"/>
                    <a:pt x="16" y="9"/>
                  </a:cubicBezTo>
                  <a:cubicBezTo>
                    <a:pt x="16" y="11"/>
                    <a:pt x="15" y="13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</a:path>
              </a:pathLst>
            </a:custGeom>
            <a:solidFill>
              <a:srgbClr val="CD7E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1" name="任意多边形 150">
              <a:extLst>
                <a:ext uri="{FF2B5EF4-FFF2-40B4-BE49-F238E27FC236}">
                  <a16:creationId xmlns:a16="http://schemas.microsoft.com/office/drawing/2014/main" id="{5BAA74C9-8C40-4CED-A18C-CE9ED2846110}"/>
                </a:ext>
              </a:extLst>
            </p:cNvPr>
            <p:cNvSpPr/>
            <p:nvPr/>
          </p:nvSpPr>
          <p:spPr bwMode="auto">
            <a:xfrm>
              <a:off x="7259639" y="3925888"/>
              <a:ext cx="238125" cy="814388"/>
            </a:xfrm>
            <a:custGeom>
              <a:avLst/>
              <a:gdLst>
                <a:gd name="T0" fmla="*/ 89 w 91"/>
                <a:gd name="T1" fmla="*/ 258 h 312"/>
                <a:gd name="T2" fmla="*/ 91 w 91"/>
                <a:gd name="T3" fmla="*/ 273 h 312"/>
                <a:gd name="T4" fmla="*/ 87 w 91"/>
                <a:gd name="T5" fmla="*/ 280 h 312"/>
                <a:gd name="T6" fmla="*/ 48 w 91"/>
                <a:gd name="T7" fmla="*/ 308 h 312"/>
                <a:gd name="T8" fmla="*/ 28 w 91"/>
                <a:gd name="T9" fmla="*/ 309 h 312"/>
                <a:gd name="T10" fmla="*/ 3 w 91"/>
                <a:gd name="T11" fmla="*/ 60 h 312"/>
                <a:gd name="T12" fmla="*/ 3 w 91"/>
                <a:gd name="T13" fmla="*/ 40 h 312"/>
                <a:gd name="T14" fmla="*/ 0 w 91"/>
                <a:gd name="T15" fmla="*/ 36 h 312"/>
                <a:gd name="T16" fmla="*/ 0 w 91"/>
                <a:gd name="T17" fmla="*/ 36 h 312"/>
                <a:gd name="T18" fmla="*/ 20 w 91"/>
                <a:gd name="T19" fmla="*/ 34 h 312"/>
                <a:gd name="T20" fmla="*/ 59 w 91"/>
                <a:gd name="T21" fmla="*/ 7 h 312"/>
                <a:gd name="T22" fmla="*/ 63 w 91"/>
                <a:gd name="T23" fmla="*/ 0 h 312"/>
                <a:gd name="T24" fmla="*/ 89 w 91"/>
                <a:gd name="T25" fmla="*/ 258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312">
                  <a:moveTo>
                    <a:pt x="89" y="258"/>
                  </a:moveTo>
                  <a:cubicBezTo>
                    <a:pt x="89" y="263"/>
                    <a:pt x="90" y="268"/>
                    <a:pt x="91" y="273"/>
                  </a:cubicBezTo>
                  <a:cubicBezTo>
                    <a:pt x="91" y="275"/>
                    <a:pt x="90" y="278"/>
                    <a:pt x="87" y="280"/>
                  </a:cubicBezTo>
                  <a:cubicBezTo>
                    <a:pt x="48" y="308"/>
                    <a:pt x="48" y="308"/>
                    <a:pt x="48" y="308"/>
                  </a:cubicBezTo>
                  <a:cubicBezTo>
                    <a:pt x="42" y="312"/>
                    <a:pt x="34" y="312"/>
                    <a:pt x="28" y="309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54"/>
                    <a:pt x="3" y="47"/>
                    <a:pt x="3" y="40"/>
                  </a:cubicBezTo>
                  <a:cubicBezTo>
                    <a:pt x="3" y="38"/>
                    <a:pt x="2" y="37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6" y="39"/>
                    <a:pt x="14" y="38"/>
                    <a:pt x="20" y="34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62" y="5"/>
                    <a:pt x="63" y="2"/>
                    <a:pt x="63" y="0"/>
                  </a:cubicBezTo>
                  <a:cubicBezTo>
                    <a:pt x="63" y="0"/>
                    <a:pt x="73" y="108"/>
                    <a:pt x="89" y="258"/>
                  </a:cubicBezTo>
                </a:path>
              </a:pathLst>
            </a:custGeom>
            <a:solidFill>
              <a:srgbClr val="DA92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2" name="任意多边形 151">
              <a:extLst>
                <a:ext uri="{FF2B5EF4-FFF2-40B4-BE49-F238E27FC236}">
                  <a16:creationId xmlns:a16="http://schemas.microsoft.com/office/drawing/2014/main" id="{980B72D5-C90E-40C0-B62E-FCFB659769EC}"/>
                </a:ext>
              </a:extLst>
            </p:cNvPr>
            <p:cNvSpPr/>
            <p:nvPr/>
          </p:nvSpPr>
          <p:spPr bwMode="auto">
            <a:xfrm>
              <a:off x="7364414" y="3914776"/>
              <a:ext cx="15875" cy="26988"/>
            </a:xfrm>
            <a:custGeom>
              <a:avLst/>
              <a:gdLst>
                <a:gd name="T0" fmla="*/ 3 w 6"/>
                <a:gd name="T1" fmla="*/ 10 h 10"/>
                <a:gd name="T2" fmla="*/ 1 w 6"/>
                <a:gd name="T3" fmla="*/ 8 h 10"/>
                <a:gd name="T4" fmla="*/ 1 w 6"/>
                <a:gd name="T5" fmla="*/ 8 h 10"/>
                <a:gd name="T6" fmla="*/ 0 w 6"/>
                <a:gd name="T7" fmla="*/ 0 h 10"/>
                <a:gd name="T8" fmla="*/ 3 w 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3" y="10"/>
                  </a:moveTo>
                  <a:cubicBezTo>
                    <a:pt x="2" y="9"/>
                    <a:pt x="2" y="9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2"/>
                    <a:pt x="6" y="6"/>
                    <a:pt x="3" y="10"/>
                  </a:cubicBezTo>
                  <a:close/>
                </a:path>
              </a:pathLst>
            </a:custGeom>
            <a:solidFill>
              <a:srgbClr val="E2A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3" name="任意多边形 152">
              <a:extLst>
                <a:ext uri="{FF2B5EF4-FFF2-40B4-BE49-F238E27FC236}">
                  <a16:creationId xmlns:a16="http://schemas.microsoft.com/office/drawing/2014/main" id="{C4BDB196-D456-4BBE-B4AD-20F3F498FC3C}"/>
                </a:ext>
              </a:extLst>
            </p:cNvPr>
            <p:cNvSpPr/>
            <p:nvPr/>
          </p:nvSpPr>
          <p:spPr bwMode="auto">
            <a:xfrm>
              <a:off x="6835776" y="3681413"/>
              <a:ext cx="565150" cy="314325"/>
            </a:xfrm>
            <a:custGeom>
              <a:avLst/>
              <a:gdLst>
                <a:gd name="T0" fmla="*/ 206 w 217"/>
                <a:gd name="T1" fmla="*/ 100 h 121"/>
                <a:gd name="T2" fmla="*/ 183 w 217"/>
                <a:gd name="T3" fmla="*/ 117 h 121"/>
                <a:gd name="T4" fmla="*/ 163 w 217"/>
                <a:gd name="T5" fmla="*/ 118 h 121"/>
                <a:gd name="T6" fmla="*/ 0 w 217"/>
                <a:gd name="T7" fmla="*/ 24 h 121"/>
                <a:gd name="T8" fmla="*/ 34 w 217"/>
                <a:gd name="T9" fmla="*/ 0 h 121"/>
                <a:gd name="T10" fmla="*/ 206 w 217"/>
                <a:gd name="T11" fmla="*/ 10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7" h="121">
                  <a:moveTo>
                    <a:pt x="206" y="100"/>
                  </a:moveTo>
                  <a:cubicBezTo>
                    <a:pt x="205" y="102"/>
                    <a:pt x="205" y="101"/>
                    <a:pt x="183" y="117"/>
                  </a:cubicBezTo>
                  <a:cubicBezTo>
                    <a:pt x="177" y="121"/>
                    <a:pt x="169" y="121"/>
                    <a:pt x="163" y="11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4" y="0"/>
                    <a:pt x="27" y="5"/>
                    <a:pt x="34" y="0"/>
                  </a:cubicBezTo>
                  <a:cubicBezTo>
                    <a:pt x="217" y="106"/>
                    <a:pt x="205" y="99"/>
                    <a:pt x="206" y="100"/>
                  </a:cubicBezTo>
                  <a:close/>
                </a:path>
              </a:pathLst>
            </a:custGeom>
            <a:solidFill>
              <a:srgbClr val="C8D1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4" name="任意多边形 153">
              <a:extLst>
                <a:ext uri="{FF2B5EF4-FFF2-40B4-BE49-F238E27FC236}">
                  <a16:creationId xmlns:a16="http://schemas.microsoft.com/office/drawing/2014/main" id="{70F79A00-F4B3-4891-9AFF-57454B3C5353}"/>
                </a:ext>
              </a:extLst>
            </p:cNvPr>
            <p:cNvSpPr/>
            <p:nvPr/>
          </p:nvSpPr>
          <p:spPr bwMode="auto">
            <a:xfrm>
              <a:off x="6905626" y="3649663"/>
              <a:ext cx="461963" cy="287338"/>
            </a:xfrm>
            <a:custGeom>
              <a:avLst/>
              <a:gdLst>
                <a:gd name="T0" fmla="*/ 291 w 291"/>
                <a:gd name="T1" fmla="*/ 181 h 181"/>
                <a:gd name="T2" fmla="*/ 12 w 291"/>
                <a:gd name="T3" fmla="*/ 20 h 181"/>
                <a:gd name="T4" fmla="*/ 3 w 291"/>
                <a:gd name="T5" fmla="*/ 26 h 181"/>
                <a:gd name="T6" fmla="*/ 0 w 291"/>
                <a:gd name="T7" fmla="*/ 0 h 181"/>
                <a:gd name="T8" fmla="*/ 289 w 291"/>
                <a:gd name="T9" fmla="*/ 167 h 181"/>
                <a:gd name="T10" fmla="*/ 291 w 291"/>
                <a:gd name="T1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1" h="181">
                  <a:moveTo>
                    <a:pt x="291" y="181"/>
                  </a:moveTo>
                  <a:lnTo>
                    <a:pt x="12" y="20"/>
                  </a:lnTo>
                  <a:lnTo>
                    <a:pt x="3" y="26"/>
                  </a:lnTo>
                  <a:lnTo>
                    <a:pt x="0" y="0"/>
                  </a:lnTo>
                  <a:lnTo>
                    <a:pt x="289" y="167"/>
                  </a:lnTo>
                  <a:lnTo>
                    <a:pt x="291" y="181"/>
                  </a:lnTo>
                  <a:close/>
                </a:path>
              </a:pathLst>
            </a:custGeom>
            <a:solidFill>
              <a:srgbClr val="E2A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5" name="任意多边形 154">
              <a:extLst>
                <a:ext uri="{FF2B5EF4-FFF2-40B4-BE49-F238E27FC236}">
                  <a16:creationId xmlns:a16="http://schemas.microsoft.com/office/drawing/2014/main" id="{F2498ADE-4E75-457B-BB8C-A234CDA53CBA}"/>
                </a:ext>
              </a:extLst>
            </p:cNvPr>
            <p:cNvSpPr/>
            <p:nvPr/>
          </p:nvSpPr>
          <p:spPr bwMode="auto">
            <a:xfrm>
              <a:off x="7267576" y="4083051"/>
              <a:ext cx="65088" cy="649288"/>
            </a:xfrm>
            <a:custGeom>
              <a:avLst/>
              <a:gdLst>
                <a:gd name="T0" fmla="*/ 0 w 25"/>
                <a:gd name="T1" fmla="*/ 0 h 249"/>
                <a:gd name="T2" fmla="*/ 25 w 25"/>
                <a:gd name="T3" fmla="*/ 249 h 249"/>
                <a:gd name="T4" fmla="*/ 0 w 25"/>
                <a:gd name="T5" fmla="*/ 234 h 249"/>
                <a:gd name="T6" fmla="*/ 0 w 25"/>
                <a:gd name="T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49">
                  <a:moveTo>
                    <a:pt x="0" y="0"/>
                  </a:moveTo>
                  <a:cubicBezTo>
                    <a:pt x="25" y="249"/>
                    <a:pt x="25" y="249"/>
                    <a:pt x="25" y="249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156"/>
                    <a:pt x="0" y="78"/>
                    <a:pt x="0" y="0"/>
                  </a:cubicBezTo>
                </a:path>
              </a:pathLst>
            </a:custGeom>
            <a:solidFill>
              <a:srgbClr val="DA92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6" name="任意多边形 155">
              <a:extLst>
                <a:ext uri="{FF2B5EF4-FFF2-40B4-BE49-F238E27FC236}">
                  <a16:creationId xmlns:a16="http://schemas.microsoft.com/office/drawing/2014/main" id="{484F92D2-B5AE-47DC-9C0C-029EA18B2D5F}"/>
                </a:ext>
              </a:extLst>
            </p:cNvPr>
            <p:cNvSpPr/>
            <p:nvPr/>
          </p:nvSpPr>
          <p:spPr bwMode="auto">
            <a:xfrm>
              <a:off x="7107239" y="4030663"/>
              <a:ext cx="160338" cy="841375"/>
            </a:xfrm>
            <a:custGeom>
              <a:avLst/>
              <a:gdLst>
                <a:gd name="T0" fmla="*/ 62 w 62"/>
                <a:gd name="T1" fmla="*/ 292 h 323"/>
                <a:gd name="T2" fmla="*/ 58 w 62"/>
                <a:gd name="T3" fmla="*/ 297 h 323"/>
                <a:gd name="T4" fmla="*/ 19 w 62"/>
                <a:gd name="T5" fmla="*/ 320 h 323"/>
                <a:gd name="T6" fmla="*/ 4 w 62"/>
                <a:gd name="T7" fmla="*/ 321 h 323"/>
                <a:gd name="T8" fmla="*/ 4 w 62"/>
                <a:gd name="T9" fmla="*/ 34 h 323"/>
                <a:gd name="T10" fmla="*/ 2 w 62"/>
                <a:gd name="T11" fmla="*/ 31 h 323"/>
                <a:gd name="T12" fmla="*/ 0 w 62"/>
                <a:gd name="T13" fmla="*/ 28 h 323"/>
                <a:gd name="T14" fmla="*/ 19 w 62"/>
                <a:gd name="T15" fmla="*/ 28 h 323"/>
                <a:gd name="T16" fmla="*/ 61 w 62"/>
                <a:gd name="T17" fmla="*/ 4 h 323"/>
                <a:gd name="T18" fmla="*/ 62 w 62"/>
                <a:gd name="T19" fmla="*/ 0 h 323"/>
                <a:gd name="T20" fmla="*/ 62 w 62"/>
                <a:gd name="T21" fmla="*/ 292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323">
                  <a:moveTo>
                    <a:pt x="62" y="292"/>
                  </a:moveTo>
                  <a:cubicBezTo>
                    <a:pt x="62" y="293"/>
                    <a:pt x="61" y="295"/>
                    <a:pt x="58" y="297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5" y="322"/>
                    <a:pt x="9" y="323"/>
                    <a:pt x="4" y="321"/>
                  </a:cubicBezTo>
                  <a:cubicBezTo>
                    <a:pt x="4" y="226"/>
                    <a:pt x="4" y="130"/>
                    <a:pt x="4" y="34"/>
                  </a:cubicBezTo>
                  <a:cubicBezTo>
                    <a:pt x="4" y="33"/>
                    <a:pt x="3" y="32"/>
                    <a:pt x="2" y="31"/>
                  </a:cubicBezTo>
                  <a:cubicBezTo>
                    <a:pt x="2" y="30"/>
                    <a:pt x="1" y="29"/>
                    <a:pt x="0" y="28"/>
                  </a:cubicBezTo>
                  <a:cubicBezTo>
                    <a:pt x="5" y="32"/>
                    <a:pt x="14" y="32"/>
                    <a:pt x="19" y="28"/>
                  </a:cubicBezTo>
                  <a:cubicBezTo>
                    <a:pt x="61" y="4"/>
                    <a:pt x="59" y="5"/>
                    <a:pt x="61" y="4"/>
                  </a:cubicBezTo>
                  <a:cubicBezTo>
                    <a:pt x="61" y="3"/>
                    <a:pt x="62" y="1"/>
                    <a:pt x="62" y="0"/>
                  </a:cubicBezTo>
                  <a:cubicBezTo>
                    <a:pt x="62" y="86"/>
                    <a:pt x="62" y="141"/>
                    <a:pt x="62" y="292"/>
                  </a:cubicBezTo>
                </a:path>
              </a:pathLst>
            </a:custGeom>
            <a:solidFill>
              <a:srgbClr val="648F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7" name="任意多边形 156">
              <a:extLst>
                <a:ext uri="{FF2B5EF4-FFF2-40B4-BE49-F238E27FC236}">
                  <a16:creationId xmlns:a16="http://schemas.microsoft.com/office/drawing/2014/main" id="{FBE641AA-6DA0-4C91-B2A6-1F43569FC027}"/>
                </a:ext>
              </a:extLst>
            </p:cNvPr>
            <p:cNvSpPr/>
            <p:nvPr/>
          </p:nvSpPr>
          <p:spPr bwMode="auto">
            <a:xfrm>
              <a:off x="6751639" y="3751263"/>
              <a:ext cx="490538" cy="307975"/>
            </a:xfrm>
            <a:custGeom>
              <a:avLst/>
              <a:gdLst>
                <a:gd name="T0" fmla="*/ 180 w 188"/>
                <a:gd name="T1" fmla="*/ 106 h 118"/>
                <a:gd name="T2" fmla="*/ 177 w 188"/>
                <a:gd name="T3" fmla="*/ 112 h 118"/>
                <a:gd name="T4" fmla="*/ 5 w 188"/>
                <a:gd name="T5" fmla="*/ 13 h 118"/>
                <a:gd name="T6" fmla="*/ 0 w 188"/>
                <a:gd name="T7" fmla="*/ 16 h 118"/>
                <a:gd name="T8" fmla="*/ 0 w 188"/>
                <a:gd name="T9" fmla="*/ 0 h 118"/>
                <a:gd name="T10" fmla="*/ 176 w 188"/>
                <a:gd name="T11" fmla="*/ 102 h 118"/>
                <a:gd name="T12" fmla="*/ 180 w 188"/>
                <a:gd name="T13" fmla="*/ 10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118">
                  <a:moveTo>
                    <a:pt x="180" y="106"/>
                  </a:moveTo>
                  <a:cubicBezTo>
                    <a:pt x="180" y="108"/>
                    <a:pt x="179" y="110"/>
                    <a:pt x="177" y="112"/>
                  </a:cubicBezTo>
                  <a:cubicBezTo>
                    <a:pt x="176" y="111"/>
                    <a:pt x="188" y="118"/>
                    <a:pt x="5" y="1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6" y="102"/>
                    <a:pt x="176" y="102"/>
                    <a:pt x="176" y="102"/>
                  </a:cubicBezTo>
                  <a:cubicBezTo>
                    <a:pt x="177" y="103"/>
                    <a:pt x="179" y="104"/>
                    <a:pt x="180" y="106"/>
                  </a:cubicBezTo>
                  <a:close/>
                </a:path>
              </a:pathLst>
            </a:custGeom>
            <a:solidFill>
              <a:srgbClr val="72A3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8" name="任意多边形 157">
              <a:extLst>
                <a:ext uri="{FF2B5EF4-FFF2-40B4-BE49-F238E27FC236}">
                  <a16:creationId xmlns:a16="http://schemas.microsoft.com/office/drawing/2014/main" id="{56B0826D-0383-4D4B-B989-0AD0F3CEA4A6}"/>
                </a:ext>
              </a:extLst>
            </p:cNvPr>
            <p:cNvSpPr/>
            <p:nvPr/>
          </p:nvSpPr>
          <p:spPr bwMode="auto">
            <a:xfrm>
              <a:off x="6681789" y="3784601"/>
              <a:ext cx="560388" cy="300038"/>
            </a:xfrm>
            <a:custGeom>
              <a:avLst/>
              <a:gdLst>
                <a:gd name="T0" fmla="*/ 182 w 215"/>
                <a:gd name="T1" fmla="*/ 112 h 115"/>
                <a:gd name="T2" fmla="*/ 163 w 215"/>
                <a:gd name="T3" fmla="*/ 112 h 115"/>
                <a:gd name="T4" fmla="*/ 0 w 215"/>
                <a:gd name="T5" fmla="*/ 18 h 115"/>
                <a:gd name="T6" fmla="*/ 32 w 215"/>
                <a:gd name="T7" fmla="*/ 0 h 115"/>
                <a:gd name="T8" fmla="*/ 204 w 215"/>
                <a:gd name="T9" fmla="*/ 99 h 115"/>
                <a:gd name="T10" fmla="*/ 182 w 215"/>
                <a:gd name="T11" fmla="*/ 1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115">
                  <a:moveTo>
                    <a:pt x="182" y="112"/>
                  </a:moveTo>
                  <a:cubicBezTo>
                    <a:pt x="177" y="115"/>
                    <a:pt x="168" y="115"/>
                    <a:pt x="163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0" y="1"/>
                    <a:pt x="25" y="4"/>
                    <a:pt x="32" y="0"/>
                  </a:cubicBezTo>
                  <a:cubicBezTo>
                    <a:pt x="215" y="105"/>
                    <a:pt x="203" y="98"/>
                    <a:pt x="204" y="99"/>
                  </a:cubicBezTo>
                  <a:cubicBezTo>
                    <a:pt x="203" y="100"/>
                    <a:pt x="204" y="99"/>
                    <a:pt x="182" y="112"/>
                  </a:cubicBezTo>
                  <a:close/>
                </a:path>
              </a:pathLst>
            </a:custGeom>
            <a:solidFill>
              <a:srgbClr val="C8D1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9" name="任意多边形 158">
              <a:extLst>
                <a:ext uri="{FF2B5EF4-FFF2-40B4-BE49-F238E27FC236}">
                  <a16:creationId xmlns:a16="http://schemas.microsoft.com/office/drawing/2014/main" id="{C5017CBD-47C8-45AF-B8DC-AACB31961085}"/>
                </a:ext>
              </a:extLst>
            </p:cNvPr>
            <p:cNvSpPr/>
            <p:nvPr/>
          </p:nvSpPr>
          <p:spPr bwMode="auto">
            <a:xfrm>
              <a:off x="6953251" y="4119563"/>
              <a:ext cx="163513" cy="841375"/>
            </a:xfrm>
            <a:custGeom>
              <a:avLst/>
              <a:gdLst>
                <a:gd name="T0" fmla="*/ 63 w 63"/>
                <a:gd name="T1" fmla="*/ 0 h 323"/>
                <a:gd name="T2" fmla="*/ 63 w 63"/>
                <a:gd name="T3" fmla="*/ 291 h 323"/>
                <a:gd name="T4" fmla="*/ 59 w 63"/>
                <a:gd name="T5" fmla="*/ 297 h 323"/>
                <a:gd name="T6" fmla="*/ 20 w 63"/>
                <a:gd name="T7" fmla="*/ 319 h 323"/>
                <a:gd name="T8" fmla="*/ 0 w 63"/>
                <a:gd name="T9" fmla="*/ 319 h 323"/>
                <a:gd name="T10" fmla="*/ 0 w 63"/>
                <a:gd name="T11" fmla="*/ 28 h 323"/>
                <a:gd name="T12" fmla="*/ 20 w 63"/>
                <a:gd name="T13" fmla="*/ 28 h 323"/>
                <a:gd name="T14" fmla="*/ 59 w 63"/>
                <a:gd name="T15" fmla="*/ 6 h 323"/>
                <a:gd name="T16" fmla="*/ 63 w 63"/>
                <a:gd name="T17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323">
                  <a:moveTo>
                    <a:pt x="63" y="0"/>
                  </a:moveTo>
                  <a:cubicBezTo>
                    <a:pt x="63" y="85"/>
                    <a:pt x="63" y="186"/>
                    <a:pt x="63" y="291"/>
                  </a:cubicBezTo>
                  <a:cubicBezTo>
                    <a:pt x="63" y="293"/>
                    <a:pt x="62" y="295"/>
                    <a:pt x="59" y="297"/>
                  </a:cubicBezTo>
                  <a:cubicBezTo>
                    <a:pt x="20" y="319"/>
                    <a:pt x="20" y="319"/>
                    <a:pt x="20" y="319"/>
                  </a:cubicBezTo>
                  <a:cubicBezTo>
                    <a:pt x="14" y="322"/>
                    <a:pt x="6" y="323"/>
                    <a:pt x="0" y="31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6" y="31"/>
                    <a:pt x="14" y="31"/>
                    <a:pt x="20" y="28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61" y="4"/>
                    <a:pt x="63" y="2"/>
                    <a:pt x="63" y="0"/>
                  </a:cubicBezTo>
                </a:path>
              </a:pathLst>
            </a:custGeom>
            <a:solidFill>
              <a:srgbClr val="5A84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0" name="任意多边形 159">
              <a:extLst>
                <a:ext uri="{FF2B5EF4-FFF2-40B4-BE49-F238E27FC236}">
                  <a16:creationId xmlns:a16="http://schemas.microsoft.com/office/drawing/2014/main" id="{82A2CF94-7830-402C-9A37-B944F80CF38E}"/>
                </a:ext>
              </a:extLst>
            </p:cNvPr>
            <p:cNvSpPr/>
            <p:nvPr/>
          </p:nvSpPr>
          <p:spPr bwMode="auto">
            <a:xfrm>
              <a:off x="6597651" y="3840163"/>
              <a:ext cx="493713" cy="307975"/>
            </a:xfrm>
            <a:custGeom>
              <a:avLst/>
              <a:gdLst>
                <a:gd name="T0" fmla="*/ 180 w 189"/>
                <a:gd name="T1" fmla="*/ 106 h 118"/>
                <a:gd name="T2" fmla="*/ 178 w 189"/>
                <a:gd name="T3" fmla="*/ 112 h 118"/>
                <a:gd name="T4" fmla="*/ 6 w 189"/>
                <a:gd name="T5" fmla="*/ 12 h 118"/>
                <a:gd name="T6" fmla="*/ 0 w 189"/>
                <a:gd name="T7" fmla="*/ 16 h 118"/>
                <a:gd name="T8" fmla="*/ 0 w 189"/>
                <a:gd name="T9" fmla="*/ 0 h 118"/>
                <a:gd name="T10" fmla="*/ 176 w 189"/>
                <a:gd name="T11" fmla="*/ 101 h 118"/>
                <a:gd name="T12" fmla="*/ 180 w 189"/>
                <a:gd name="T13" fmla="*/ 10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118">
                  <a:moveTo>
                    <a:pt x="180" y="106"/>
                  </a:moveTo>
                  <a:cubicBezTo>
                    <a:pt x="181" y="108"/>
                    <a:pt x="180" y="110"/>
                    <a:pt x="178" y="112"/>
                  </a:cubicBezTo>
                  <a:cubicBezTo>
                    <a:pt x="177" y="111"/>
                    <a:pt x="189" y="118"/>
                    <a:pt x="6" y="1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6" y="101"/>
                    <a:pt x="176" y="101"/>
                    <a:pt x="176" y="101"/>
                  </a:cubicBezTo>
                  <a:cubicBezTo>
                    <a:pt x="178" y="102"/>
                    <a:pt x="180" y="104"/>
                    <a:pt x="180" y="106"/>
                  </a:cubicBezTo>
                  <a:close/>
                </a:path>
              </a:pathLst>
            </a:custGeom>
            <a:solidFill>
              <a:srgbClr val="6899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1" name="任意多边形 160">
              <a:extLst>
                <a:ext uri="{FF2B5EF4-FFF2-40B4-BE49-F238E27FC236}">
                  <a16:creationId xmlns:a16="http://schemas.microsoft.com/office/drawing/2014/main" id="{7AED7568-5FFE-454F-BCCA-0B42BE8D3BD9}"/>
                </a:ext>
              </a:extLst>
            </p:cNvPr>
            <p:cNvSpPr/>
            <p:nvPr/>
          </p:nvSpPr>
          <p:spPr bwMode="auto">
            <a:xfrm>
              <a:off x="6530976" y="3870326"/>
              <a:ext cx="560388" cy="303213"/>
            </a:xfrm>
            <a:custGeom>
              <a:avLst/>
              <a:gdLst>
                <a:gd name="T0" fmla="*/ 204 w 215"/>
                <a:gd name="T1" fmla="*/ 100 h 116"/>
                <a:gd name="T2" fmla="*/ 182 w 215"/>
                <a:gd name="T3" fmla="*/ 113 h 116"/>
                <a:gd name="T4" fmla="*/ 162 w 215"/>
                <a:gd name="T5" fmla="*/ 113 h 116"/>
                <a:gd name="T6" fmla="*/ 0 w 215"/>
                <a:gd name="T7" fmla="*/ 19 h 116"/>
                <a:gd name="T8" fmla="*/ 32 w 215"/>
                <a:gd name="T9" fmla="*/ 0 h 116"/>
                <a:gd name="T10" fmla="*/ 204 w 215"/>
                <a:gd name="T11" fmla="*/ 10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116">
                  <a:moveTo>
                    <a:pt x="204" y="100"/>
                  </a:moveTo>
                  <a:cubicBezTo>
                    <a:pt x="203" y="100"/>
                    <a:pt x="204" y="100"/>
                    <a:pt x="182" y="113"/>
                  </a:cubicBezTo>
                  <a:cubicBezTo>
                    <a:pt x="176" y="116"/>
                    <a:pt x="168" y="116"/>
                    <a:pt x="162" y="11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30" y="1"/>
                    <a:pt x="25" y="5"/>
                    <a:pt x="32" y="0"/>
                  </a:cubicBezTo>
                  <a:cubicBezTo>
                    <a:pt x="215" y="106"/>
                    <a:pt x="203" y="99"/>
                    <a:pt x="204" y="100"/>
                  </a:cubicBezTo>
                  <a:close/>
                </a:path>
              </a:pathLst>
            </a:custGeom>
            <a:solidFill>
              <a:srgbClr val="C8D1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2" name="任意多边形 161">
              <a:extLst>
                <a:ext uri="{FF2B5EF4-FFF2-40B4-BE49-F238E27FC236}">
                  <a16:creationId xmlns:a16="http://schemas.microsoft.com/office/drawing/2014/main" id="{731A25A1-A502-4C62-BBAE-3A4E2D43F7FB}"/>
                </a:ext>
              </a:extLst>
            </p:cNvPr>
            <p:cNvSpPr/>
            <p:nvPr/>
          </p:nvSpPr>
          <p:spPr bwMode="auto">
            <a:xfrm>
              <a:off x="6470651" y="3913188"/>
              <a:ext cx="482600" cy="1038225"/>
            </a:xfrm>
            <a:custGeom>
              <a:avLst/>
              <a:gdLst>
                <a:gd name="T0" fmla="*/ 304 w 304"/>
                <a:gd name="T1" fmla="*/ 176 h 654"/>
                <a:gd name="T2" fmla="*/ 304 w 304"/>
                <a:gd name="T3" fmla="*/ 654 h 654"/>
                <a:gd name="T4" fmla="*/ 0 w 304"/>
                <a:gd name="T5" fmla="*/ 479 h 654"/>
                <a:gd name="T6" fmla="*/ 0 w 304"/>
                <a:gd name="T7" fmla="*/ 0 h 654"/>
                <a:gd name="T8" fmla="*/ 304 w 304"/>
                <a:gd name="T9" fmla="*/ 176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4" h="654">
                  <a:moveTo>
                    <a:pt x="304" y="176"/>
                  </a:moveTo>
                  <a:lnTo>
                    <a:pt x="304" y="654"/>
                  </a:lnTo>
                  <a:lnTo>
                    <a:pt x="0" y="479"/>
                  </a:lnTo>
                  <a:lnTo>
                    <a:pt x="0" y="0"/>
                  </a:lnTo>
                  <a:lnTo>
                    <a:pt x="304" y="176"/>
                  </a:lnTo>
                  <a:close/>
                </a:path>
              </a:pathLst>
            </a:custGeom>
            <a:solidFill>
              <a:srgbClr val="6899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3" name="任意多边形 162">
              <a:extLst>
                <a:ext uri="{FF2B5EF4-FFF2-40B4-BE49-F238E27FC236}">
                  <a16:creationId xmlns:a16="http://schemas.microsoft.com/office/drawing/2014/main" id="{C99517A8-8084-4531-B102-2892A2F5A5A8}"/>
                </a:ext>
              </a:extLst>
            </p:cNvPr>
            <p:cNvSpPr/>
            <p:nvPr/>
          </p:nvSpPr>
          <p:spPr bwMode="auto">
            <a:xfrm>
              <a:off x="7278689" y="3929063"/>
              <a:ext cx="146050" cy="95250"/>
            </a:xfrm>
            <a:custGeom>
              <a:avLst/>
              <a:gdLst>
                <a:gd name="T0" fmla="*/ 56 w 56"/>
                <a:gd name="T1" fmla="*/ 0 h 37"/>
                <a:gd name="T2" fmla="*/ 19 w 56"/>
                <a:gd name="T3" fmla="*/ 28 h 37"/>
                <a:gd name="T4" fmla="*/ 1 w 56"/>
                <a:gd name="T5" fmla="*/ 36 h 37"/>
                <a:gd name="T6" fmla="*/ 0 w 56"/>
                <a:gd name="T7" fmla="*/ 37 h 37"/>
                <a:gd name="T8" fmla="*/ 2 w 56"/>
                <a:gd name="T9" fmla="*/ 37 h 37"/>
                <a:gd name="T10" fmla="*/ 13 w 56"/>
                <a:gd name="T11" fmla="*/ 33 h 37"/>
                <a:gd name="T12" fmla="*/ 52 w 56"/>
                <a:gd name="T13" fmla="*/ 6 h 37"/>
                <a:gd name="T14" fmla="*/ 56 w 56"/>
                <a:gd name="T15" fmla="*/ 0 h 37"/>
                <a:gd name="T16" fmla="*/ 56 w 56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37">
                  <a:moveTo>
                    <a:pt x="56" y="0"/>
                  </a:moveTo>
                  <a:cubicBezTo>
                    <a:pt x="43" y="9"/>
                    <a:pt x="31" y="20"/>
                    <a:pt x="19" y="28"/>
                  </a:cubicBezTo>
                  <a:cubicBezTo>
                    <a:pt x="14" y="32"/>
                    <a:pt x="8" y="36"/>
                    <a:pt x="1" y="36"/>
                  </a:cubicBezTo>
                  <a:cubicBezTo>
                    <a:pt x="1" y="36"/>
                    <a:pt x="0" y="36"/>
                    <a:pt x="0" y="37"/>
                  </a:cubicBezTo>
                  <a:cubicBezTo>
                    <a:pt x="1" y="37"/>
                    <a:pt x="1" y="37"/>
                    <a:pt x="2" y="37"/>
                  </a:cubicBezTo>
                  <a:cubicBezTo>
                    <a:pt x="6" y="37"/>
                    <a:pt x="10" y="36"/>
                    <a:pt x="13" y="3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4" y="4"/>
                    <a:pt x="55" y="2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rgbClr val="796D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4" name="任意多边形 163">
              <a:extLst>
                <a:ext uri="{FF2B5EF4-FFF2-40B4-BE49-F238E27FC236}">
                  <a16:creationId xmlns:a16="http://schemas.microsoft.com/office/drawing/2014/main" id="{AEC105A4-3347-4FB4-B190-B8FA63BA972D}"/>
                </a:ext>
              </a:extLst>
            </p:cNvPr>
            <p:cNvSpPr/>
            <p:nvPr/>
          </p:nvSpPr>
          <p:spPr bwMode="auto">
            <a:xfrm>
              <a:off x="7104064" y="4105276"/>
              <a:ext cx="0" cy="28575"/>
            </a:xfrm>
            <a:custGeom>
              <a:avLst/>
              <a:gdLst>
                <a:gd name="T0" fmla="*/ 0 h 11"/>
                <a:gd name="T1" fmla="*/ 0 h 11"/>
                <a:gd name="T2" fmla="*/ 11 h 11"/>
                <a:gd name="T3" fmla="*/ 11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7"/>
                    <a:pt x="0" y="4"/>
                    <a:pt x="0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165" name="图片 164">
              <a:extLst>
                <a:ext uri="{FF2B5EF4-FFF2-40B4-BE49-F238E27FC236}">
                  <a16:creationId xmlns:a16="http://schemas.microsoft.com/office/drawing/2014/main" id="{701FCF0F-737C-4A3E-BB43-6AEE4E4C42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5951" y="4092576"/>
              <a:ext cx="147638" cy="117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6" name="任意多边形 165">
              <a:extLst>
                <a:ext uri="{FF2B5EF4-FFF2-40B4-BE49-F238E27FC236}">
                  <a16:creationId xmlns:a16="http://schemas.microsoft.com/office/drawing/2014/main" id="{45AE6061-582A-40D2-AE20-703AC46E14AE}"/>
                </a:ext>
              </a:extLst>
            </p:cNvPr>
            <p:cNvSpPr/>
            <p:nvPr/>
          </p:nvSpPr>
          <p:spPr bwMode="auto">
            <a:xfrm>
              <a:off x="7129464" y="4105276"/>
              <a:ext cx="0" cy="6350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0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92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7" name="任意多边形 166">
              <a:extLst>
                <a:ext uri="{FF2B5EF4-FFF2-40B4-BE49-F238E27FC236}">
                  <a16:creationId xmlns:a16="http://schemas.microsoft.com/office/drawing/2014/main" id="{10459392-F452-43EF-A71D-7321B769C62F}"/>
                </a:ext>
              </a:extLst>
            </p:cNvPr>
            <p:cNvSpPr/>
            <p:nvPr/>
          </p:nvSpPr>
          <p:spPr bwMode="auto">
            <a:xfrm>
              <a:off x="7104064" y="4103688"/>
              <a:ext cx="25400" cy="30163"/>
            </a:xfrm>
            <a:custGeom>
              <a:avLst/>
              <a:gdLst>
                <a:gd name="T0" fmla="*/ 3 w 10"/>
                <a:gd name="T1" fmla="*/ 0 h 12"/>
                <a:gd name="T2" fmla="*/ 1 w 10"/>
                <a:gd name="T3" fmla="*/ 0 h 12"/>
                <a:gd name="T4" fmla="*/ 0 w 10"/>
                <a:gd name="T5" fmla="*/ 1 h 12"/>
                <a:gd name="T6" fmla="*/ 0 w 10"/>
                <a:gd name="T7" fmla="*/ 12 h 12"/>
                <a:gd name="T8" fmla="*/ 1 w 10"/>
                <a:gd name="T9" fmla="*/ 12 h 12"/>
                <a:gd name="T10" fmla="*/ 5 w 10"/>
                <a:gd name="T11" fmla="*/ 6 h 12"/>
                <a:gd name="T12" fmla="*/ 3 w 10"/>
                <a:gd name="T13" fmla="*/ 3 h 12"/>
                <a:gd name="T14" fmla="*/ 1 w 10"/>
                <a:gd name="T15" fmla="*/ 0 h 12"/>
                <a:gd name="T16" fmla="*/ 10 w 10"/>
                <a:gd name="T17" fmla="*/ 3 h 12"/>
                <a:gd name="T18" fmla="*/ 10 w 10"/>
                <a:gd name="T19" fmla="*/ 1 h 12"/>
                <a:gd name="T20" fmla="*/ 3 w 10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2">
                  <a:moveTo>
                    <a:pt x="3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5"/>
                    <a:pt x="0" y="8"/>
                    <a:pt x="0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3" y="10"/>
                    <a:pt x="5" y="8"/>
                    <a:pt x="5" y="6"/>
                  </a:cubicBezTo>
                  <a:cubicBezTo>
                    <a:pt x="5" y="5"/>
                    <a:pt x="4" y="4"/>
                    <a:pt x="3" y="3"/>
                  </a:cubicBezTo>
                  <a:cubicBezTo>
                    <a:pt x="3" y="2"/>
                    <a:pt x="2" y="1"/>
                    <a:pt x="1" y="0"/>
                  </a:cubicBezTo>
                  <a:cubicBezTo>
                    <a:pt x="3" y="2"/>
                    <a:pt x="7" y="3"/>
                    <a:pt x="10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7" y="1"/>
                    <a:pt x="5" y="0"/>
                    <a:pt x="3" y="0"/>
                  </a:cubicBezTo>
                </a:path>
              </a:pathLst>
            </a:custGeom>
            <a:solidFill>
              <a:srgbClr val="735D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8" name="任意多边形 167">
              <a:extLst>
                <a:ext uri="{FF2B5EF4-FFF2-40B4-BE49-F238E27FC236}">
                  <a16:creationId xmlns:a16="http://schemas.microsoft.com/office/drawing/2014/main" id="{C1CECF85-3038-4884-8D6A-C46EC44BEC9D}"/>
                </a:ext>
              </a:extLst>
            </p:cNvPr>
            <p:cNvSpPr/>
            <p:nvPr/>
          </p:nvSpPr>
          <p:spPr bwMode="auto">
            <a:xfrm>
              <a:off x="7129464" y="4016376"/>
              <a:ext cx="138113" cy="95250"/>
            </a:xfrm>
            <a:custGeom>
              <a:avLst/>
              <a:gdLst>
                <a:gd name="T0" fmla="*/ 51 w 53"/>
                <a:gd name="T1" fmla="*/ 0 h 36"/>
                <a:gd name="T2" fmla="*/ 50 w 53"/>
                <a:gd name="T3" fmla="*/ 1 h 36"/>
                <a:gd name="T4" fmla="*/ 52 w 53"/>
                <a:gd name="T5" fmla="*/ 8 h 36"/>
                <a:gd name="T6" fmla="*/ 28 w 53"/>
                <a:gd name="T7" fmla="*/ 22 h 36"/>
                <a:gd name="T8" fmla="*/ 20 w 53"/>
                <a:gd name="T9" fmla="*/ 27 h 36"/>
                <a:gd name="T10" fmla="*/ 11 w 53"/>
                <a:gd name="T11" fmla="*/ 32 h 36"/>
                <a:gd name="T12" fmla="*/ 3 w 53"/>
                <a:gd name="T13" fmla="*/ 35 h 36"/>
                <a:gd name="T14" fmla="*/ 3 w 53"/>
                <a:gd name="T15" fmla="*/ 35 h 36"/>
                <a:gd name="T16" fmla="*/ 0 w 53"/>
                <a:gd name="T17" fmla="*/ 34 h 36"/>
                <a:gd name="T18" fmla="*/ 0 w 53"/>
                <a:gd name="T19" fmla="*/ 36 h 36"/>
                <a:gd name="T20" fmla="*/ 0 w 53"/>
                <a:gd name="T21" fmla="*/ 36 h 36"/>
                <a:gd name="T22" fmla="*/ 10 w 53"/>
                <a:gd name="T23" fmla="*/ 33 h 36"/>
                <a:gd name="T24" fmla="*/ 52 w 53"/>
                <a:gd name="T25" fmla="*/ 9 h 36"/>
                <a:gd name="T26" fmla="*/ 53 w 53"/>
                <a:gd name="T27" fmla="*/ 5 h 36"/>
                <a:gd name="T28" fmla="*/ 53 w 53"/>
                <a:gd name="T29" fmla="*/ 5 h 36"/>
                <a:gd name="T30" fmla="*/ 50 w 53"/>
                <a:gd name="T31" fmla="*/ 1 h 36"/>
                <a:gd name="T32" fmla="*/ 50 w 53"/>
                <a:gd name="T33" fmla="*/ 1 h 36"/>
                <a:gd name="T34" fmla="*/ 53 w 53"/>
                <a:gd name="T35" fmla="*/ 2 h 36"/>
                <a:gd name="T36" fmla="*/ 53 w 53"/>
                <a:gd name="T37" fmla="*/ 2 h 36"/>
                <a:gd name="T38" fmla="*/ 51 w 53"/>
                <a:gd name="T3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6">
                  <a:moveTo>
                    <a:pt x="51" y="0"/>
                  </a:moveTo>
                  <a:cubicBezTo>
                    <a:pt x="51" y="0"/>
                    <a:pt x="50" y="0"/>
                    <a:pt x="50" y="1"/>
                  </a:cubicBezTo>
                  <a:cubicBezTo>
                    <a:pt x="49" y="1"/>
                    <a:pt x="53" y="7"/>
                    <a:pt x="52" y="8"/>
                  </a:cubicBezTo>
                  <a:cubicBezTo>
                    <a:pt x="44" y="13"/>
                    <a:pt x="36" y="18"/>
                    <a:pt x="28" y="22"/>
                  </a:cubicBezTo>
                  <a:cubicBezTo>
                    <a:pt x="25" y="24"/>
                    <a:pt x="23" y="25"/>
                    <a:pt x="20" y="27"/>
                  </a:cubicBezTo>
                  <a:cubicBezTo>
                    <a:pt x="17" y="29"/>
                    <a:pt x="14" y="30"/>
                    <a:pt x="11" y="32"/>
                  </a:cubicBezTo>
                  <a:cubicBezTo>
                    <a:pt x="9" y="33"/>
                    <a:pt x="6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5"/>
                    <a:pt x="1" y="35"/>
                    <a:pt x="0" y="3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4" y="36"/>
                    <a:pt x="7" y="35"/>
                    <a:pt x="10" y="33"/>
                  </a:cubicBezTo>
                  <a:cubicBezTo>
                    <a:pt x="52" y="9"/>
                    <a:pt x="50" y="10"/>
                    <a:pt x="52" y="9"/>
                  </a:cubicBezTo>
                  <a:cubicBezTo>
                    <a:pt x="52" y="8"/>
                    <a:pt x="53" y="6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3"/>
                    <a:pt x="52" y="2"/>
                    <a:pt x="50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1" y="1"/>
                    <a:pt x="52" y="2"/>
                    <a:pt x="53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2" y="1"/>
                    <a:pt x="51" y="0"/>
                    <a:pt x="51" y="0"/>
                  </a:cubicBezTo>
                </a:path>
              </a:pathLst>
            </a:custGeom>
            <a:solidFill>
              <a:srgbClr val="3D1C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9" name="任意多边形 168">
              <a:extLst>
                <a:ext uri="{FF2B5EF4-FFF2-40B4-BE49-F238E27FC236}">
                  <a16:creationId xmlns:a16="http://schemas.microsoft.com/office/drawing/2014/main" id="{2E13AB5F-57DF-4267-87B6-A591C8D676D9}"/>
                </a:ext>
              </a:extLst>
            </p:cNvPr>
            <p:cNvSpPr/>
            <p:nvPr/>
          </p:nvSpPr>
          <p:spPr bwMode="auto">
            <a:xfrm>
              <a:off x="6973889" y="4170363"/>
              <a:ext cx="1352550" cy="788988"/>
            </a:xfrm>
            <a:custGeom>
              <a:avLst/>
              <a:gdLst>
                <a:gd name="T0" fmla="*/ 291 w 519"/>
                <a:gd name="T1" fmla="*/ 132 h 302"/>
                <a:gd name="T2" fmla="*/ 220 w 519"/>
                <a:gd name="T3" fmla="*/ 173 h 302"/>
                <a:gd name="T4" fmla="*/ 222 w 519"/>
                <a:gd name="T5" fmla="*/ 166 h 302"/>
                <a:gd name="T6" fmla="*/ 222 w 519"/>
                <a:gd name="T7" fmla="*/ 166 h 302"/>
                <a:gd name="T8" fmla="*/ 220 w 519"/>
                <a:gd name="T9" fmla="*/ 173 h 302"/>
                <a:gd name="T10" fmla="*/ 218 w 519"/>
                <a:gd name="T11" fmla="*/ 173 h 302"/>
                <a:gd name="T12" fmla="*/ 217 w 519"/>
                <a:gd name="T13" fmla="*/ 173 h 302"/>
                <a:gd name="T14" fmla="*/ 213 w 519"/>
                <a:gd name="T15" fmla="*/ 172 h 302"/>
                <a:gd name="T16" fmla="*/ 199 w 519"/>
                <a:gd name="T17" fmla="*/ 164 h 302"/>
                <a:gd name="T18" fmla="*/ 201 w 519"/>
                <a:gd name="T19" fmla="*/ 179 h 302"/>
                <a:gd name="T20" fmla="*/ 197 w 519"/>
                <a:gd name="T21" fmla="*/ 186 h 302"/>
                <a:gd name="T22" fmla="*/ 158 w 519"/>
                <a:gd name="T23" fmla="*/ 214 h 302"/>
                <a:gd name="T24" fmla="*/ 147 w 519"/>
                <a:gd name="T25" fmla="*/ 217 h 302"/>
                <a:gd name="T26" fmla="*/ 138 w 519"/>
                <a:gd name="T27" fmla="*/ 215 h 302"/>
                <a:gd name="T28" fmla="*/ 138 w 519"/>
                <a:gd name="T29" fmla="*/ 215 h 302"/>
                <a:gd name="T30" fmla="*/ 113 w 519"/>
                <a:gd name="T31" fmla="*/ 200 h 302"/>
                <a:gd name="T32" fmla="*/ 113 w 519"/>
                <a:gd name="T33" fmla="*/ 238 h 302"/>
                <a:gd name="T34" fmla="*/ 109 w 519"/>
                <a:gd name="T35" fmla="*/ 243 h 302"/>
                <a:gd name="T36" fmla="*/ 70 w 519"/>
                <a:gd name="T37" fmla="*/ 266 h 302"/>
                <a:gd name="T38" fmla="*/ 60 w 519"/>
                <a:gd name="T39" fmla="*/ 268 h 302"/>
                <a:gd name="T40" fmla="*/ 55 w 519"/>
                <a:gd name="T41" fmla="*/ 267 h 302"/>
                <a:gd name="T42" fmla="*/ 55 w 519"/>
                <a:gd name="T43" fmla="*/ 271 h 302"/>
                <a:gd name="T44" fmla="*/ 51 w 519"/>
                <a:gd name="T45" fmla="*/ 277 h 302"/>
                <a:gd name="T46" fmla="*/ 12 w 519"/>
                <a:gd name="T47" fmla="*/ 299 h 302"/>
                <a:gd name="T48" fmla="*/ 2 w 519"/>
                <a:gd name="T49" fmla="*/ 302 h 302"/>
                <a:gd name="T50" fmla="*/ 0 w 519"/>
                <a:gd name="T51" fmla="*/ 302 h 302"/>
                <a:gd name="T52" fmla="*/ 0 w 519"/>
                <a:gd name="T53" fmla="*/ 302 h 302"/>
                <a:gd name="T54" fmla="*/ 9 w 519"/>
                <a:gd name="T55" fmla="*/ 302 h 302"/>
                <a:gd name="T56" fmla="*/ 86 w 519"/>
                <a:gd name="T57" fmla="*/ 302 h 302"/>
                <a:gd name="T58" fmla="*/ 203 w 519"/>
                <a:gd name="T59" fmla="*/ 302 h 302"/>
                <a:gd name="T60" fmla="*/ 204 w 519"/>
                <a:gd name="T61" fmla="*/ 302 h 302"/>
                <a:gd name="T62" fmla="*/ 219 w 519"/>
                <a:gd name="T63" fmla="*/ 299 h 302"/>
                <a:gd name="T64" fmla="*/ 253 w 519"/>
                <a:gd name="T65" fmla="*/ 280 h 302"/>
                <a:gd name="T66" fmla="*/ 261 w 519"/>
                <a:gd name="T67" fmla="*/ 268 h 302"/>
                <a:gd name="T68" fmla="*/ 266 w 519"/>
                <a:gd name="T69" fmla="*/ 268 h 302"/>
                <a:gd name="T70" fmla="*/ 283 w 519"/>
                <a:gd name="T71" fmla="*/ 262 h 302"/>
                <a:gd name="T72" fmla="*/ 311 w 519"/>
                <a:gd name="T73" fmla="*/ 246 h 302"/>
                <a:gd name="T74" fmla="*/ 318 w 519"/>
                <a:gd name="T75" fmla="*/ 241 h 302"/>
                <a:gd name="T76" fmla="*/ 319 w 519"/>
                <a:gd name="T77" fmla="*/ 233 h 302"/>
                <a:gd name="T78" fmla="*/ 324 w 519"/>
                <a:gd name="T79" fmla="*/ 234 h 302"/>
                <a:gd name="T80" fmla="*/ 341 w 519"/>
                <a:gd name="T81" fmla="*/ 229 h 302"/>
                <a:gd name="T82" fmla="*/ 375 w 519"/>
                <a:gd name="T83" fmla="*/ 211 h 302"/>
                <a:gd name="T84" fmla="*/ 382 w 519"/>
                <a:gd name="T85" fmla="*/ 204 h 302"/>
                <a:gd name="T86" fmla="*/ 375 w 519"/>
                <a:gd name="T87" fmla="*/ 196 h 302"/>
                <a:gd name="T88" fmla="*/ 310 w 519"/>
                <a:gd name="T89" fmla="*/ 158 h 302"/>
                <a:gd name="T90" fmla="*/ 305 w 519"/>
                <a:gd name="T91" fmla="*/ 154 h 302"/>
                <a:gd name="T92" fmla="*/ 319 w 519"/>
                <a:gd name="T93" fmla="*/ 146 h 302"/>
                <a:gd name="T94" fmla="*/ 300 w 519"/>
                <a:gd name="T95" fmla="*/ 140 h 302"/>
                <a:gd name="T96" fmla="*/ 291 w 519"/>
                <a:gd name="T97" fmla="*/ 132 h 302"/>
                <a:gd name="T98" fmla="*/ 475 w 519"/>
                <a:gd name="T99" fmla="*/ 0 h 302"/>
                <a:gd name="T100" fmla="*/ 475 w 519"/>
                <a:gd name="T101" fmla="*/ 21 h 302"/>
                <a:gd name="T102" fmla="*/ 472 w 519"/>
                <a:gd name="T103" fmla="*/ 27 h 302"/>
                <a:gd name="T104" fmla="*/ 330 w 519"/>
                <a:gd name="T105" fmla="*/ 109 h 302"/>
                <a:gd name="T106" fmla="*/ 346 w 519"/>
                <a:gd name="T107" fmla="*/ 114 h 302"/>
                <a:gd name="T108" fmla="*/ 355 w 519"/>
                <a:gd name="T109" fmla="*/ 125 h 302"/>
                <a:gd name="T110" fmla="*/ 519 w 519"/>
                <a:gd name="T111" fmla="*/ 30 h 302"/>
                <a:gd name="T112" fmla="*/ 513 w 519"/>
                <a:gd name="T113" fmla="*/ 26 h 302"/>
                <a:gd name="T114" fmla="*/ 483 w 519"/>
                <a:gd name="T115" fmla="*/ 9 h 302"/>
                <a:gd name="T116" fmla="*/ 475 w 519"/>
                <a:gd name="T117" fmla="*/ 0 h 302"/>
                <a:gd name="T118" fmla="*/ 475 w 519"/>
                <a:gd name="T11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9" h="302">
                  <a:moveTo>
                    <a:pt x="291" y="132"/>
                  </a:moveTo>
                  <a:cubicBezTo>
                    <a:pt x="267" y="145"/>
                    <a:pt x="243" y="159"/>
                    <a:pt x="220" y="173"/>
                  </a:cubicBezTo>
                  <a:cubicBezTo>
                    <a:pt x="222" y="171"/>
                    <a:pt x="222" y="169"/>
                    <a:pt x="222" y="166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2" y="169"/>
                    <a:pt x="222" y="171"/>
                    <a:pt x="220" y="173"/>
                  </a:cubicBezTo>
                  <a:cubicBezTo>
                    <a:pt x="219" y="173"/>
                    <a:pt x="219" y="173"/>
                    <a:pt x="218" y="173"/>
                  </a:cubicBezTo>
                  <a:cubicBezTo>
                    <a:pt x="218" y="173"/>
                    <a:pt x="218" y="173"/>
                    <a:pt x="217" y="173"/>
                  </a:cubicBezTo>
                  <a:cubicBezTo>
                    <a:pt x="216" y="173"/>
                    <a:pt x="214" y="173"/>
                    <a:pt x="213" y="172"/>
                  </a:cubicBezTo>
                  <a:cubicBezTo>
                    <a:pt x="199" y="164"/>
                    <a:pt x="199" y="164"/>
                    <a:pt x="199" y="164"/>
                  </a:cubicBezTo>
                  <a:cubicBezTo>
                    <a:pt x="199" y="169"/>
                    <a:pt x="200" y="174"/>
                    <a:pt x="201" y="179"/>
                  </a:cubicBezTo>
                  <a:cubicBezTo>
                    <a:pt x="201" y="181"/>
                    <a:pt x="200" y="184"/>
                    <a:pt x="197" y="186"/>
                  </a:cubicBezTo>
                  <a:cubicBezTo>
                    <a:pt x="158" y="214"/>
                    <a:pt x="158" y="214"/>
                    <a:pt x="158" y="214"/>
                  </a:cubicBezTo>
                  <a:cubicBezTo>
                    <a:pt x="155" y="216"/>
                    <a:pt x="151" y="217"/>
                    <a:pt x="147" y="217"/>
                  </a:cubicBezTo>
                  <a:cubicBezTo>
                    <a:pt x="144" y="217"/>
                    <a:pt x="141" y="216"/>
                    <a:pt x="138" y="215"/>
                  </a:cubicBezTo>
                  <a:cubicBezTo>
                    <a:pt x="138" y="215"/>
                    <a:pt x="138" y="215"/>
                    <a:pt x="138" y="215"/>
                  </a:cubicBezTo>
                  <a:cubicBezTo>
                    <a:pt x="113" y="200"/>
                    <a:pt x="113" y="200"/>
                    <a:pt x="113" y="200"/>
                  </a:cubicBezTo>
                  <a:cubicBezTo>
                    <a:pt x="113" y="212"/>
                    <a:pt x="113" y="224"/>
                    <a:pt x="113" y="238"/>
                  </a:cubicBezTo>
                  <a:cubicBezTo>
                    <a:pt x="113" y="239"/>
                    <a:pt x="112" y="241"/>
                    <a:pt x="109" y="243"/>
                  </a:cubicBezTo>
                  <a:cubicBezTo>
                    <a:pt x="70" y="266"/>
                    <a:pt x="70" y="266"/>
                    <a:pt x="70" y="266"/>
                  </a:cubicBezTo>
                  <a:cubicBezTo>
                    <a:pt x="67" y="267"/>
                    <a:pt x="64" y="268"/>
                    <a:pt x="60" y="268"/>
                  </a:cubicBezTo>
                  <a:cubicBezTo>
                    <a:pt x="58" y="268"/>
                    <a:pt x="56" y="268"/>
                    <a:pt x="55" y="267"/>
                  </a:cubicBezTo>
                  <a:cubicBezTo>
                    <a:pt x="55" y="269"/>
                    <a:pt x="55" y="270"/>
                    <a:pt x="55" y="271"/>
                  </a:cubicBezTo>
                  <a:cubicBezTo>
                    <a:pt x="55" y="273"/>
                    <a:pt x="54" y="275"/>
                    <a:pt x="51" y="277"/>
                  </a:cubicBezTo>
                  <a:cubicBezTo>
                    <a:pt x="12" y="299"/>
                    <a:pt x="12" y="299"/>
                    <a:pt x="12" y="299"/>
                  </a:cubicBezTo>
                  <a:cubicBezTo>
                    <a:pt x="9" y="301"/>
                    <a:pt x="5" y="302"/>
                    <a:pt x="2" y="302"/>
                  </a:cubicBezTo>
                  <a:cubicBezTo>
                    <a:pt x="1" y="302"/>
                    <a:pt x="0" y="302"/>
                    <a:pt x="0" y="302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3" y="302"/>
                    <a:pt x="6" y="302"/>
                    <a:pt x="9" y="302"/>
                  </a:cubicBezTo>
                  <a:cubicBezTo>
                    <a:pt x="35" y="302"/>
                    <a:pt x="60" y="302"/>
                    <a:pt x="86" y="302"/>
                  </a:cubicBezTo>
                  <a:cubicBezTo>
                    <a:pt x="125" y="302"/>
                    <a:pt x="164" y="302"/>
                    <a:pt x="203" y="302"/>
                  </a:cubicBezTo>
                  <a:cubicBezTo>
                    <a:pt x="203" y="302"/>
                    <a:pt x="204" y="302"/>
                    <a:pt x="204" y="302"/>
                  </a:cubicBezTo>
                  <a:cubicBezTo>
                    <a:pt x="209" y="302"/>
                    <a:pt x="214" y="302"/>
                    <a:pt x="219" y="299"/>
                  </a:cubicBezTo>
                  <a:cubicBezTo>
                    <a:pt x="230" y="293"/>
                    <a:pt x="241" y="286"/>
                    <a:pt x="253" y="280"/>
                  </a:cubicBezTo>
                  <a:cubicBezTo>
                    <a:pt x="257" y="277"/>
                    <a:pt x="261" y="274"/>
                    <a:pt x="261" y="268"/>
                  </a:cubicBezTo>
                  <a:cubicBezTo>
                    <a:pt x="262" y="268"/>
                    <a:pt x="264" y="268"/>
                    <a:pt x="266" y="268"/>
                  </a:cubicBezTo>
                  <a:cubicBezTo>
                    <a:pt x="272" y="268"/>
                    <a:pt x="278" y="265"/>
                    <a:pt x="283" y="262"/>
                  </a:cubicBezTo>
                  <a:cubicBezTo>
                    <a:pt x="292" y="257"/>
                    <a:pt x="302" y="251"/>
                    <a:pt x="311" y="246"/>
                  </a:cubicBezTo>
                  <a:cubicBezTo>
                    <a:pt x="313" y="244"/>
                    <a:pt x="316" y="243"/>
                    <a:pt x="318" y="241"/>
                  </a:cubicBezTo>
                  <a:cubicBezTo>
                    <a:pt x="319" y="239"/>
                    <a:pt x="319" y="236"/>
                    <a:pt x="319" y="233"/>
                  </a:cubicBezTo>
                  <a:cubicBezTo>
                    <a:pt x="321" y="233"/>
                    <a:pt x="323" y="234"/>
                    <a:pt x="324" y="234"/>
                  </a:cubicBezTo>
                  <a:cubicBezTo>
                    <a:pt x="330" y="234"/>
                    <a:pt x="335" y="232"/>
                    <a:pt x="341" y="229"/>
                  </a:cubicBezTo>
                  <a:cubicBezTo>
                    <a:pt x="352" y="222"/>
                    <a:pt x="363" y="217"/>
                    <a:pt x="375" y="211"/>
                  </a:cubicBezTo>
                  <a:cubicBezTo>
                    <a:pt x="378" y="209"/>
                    <a:pt x="382" y="208"/>
                    <a:pt x="382" y="204"/>
                  </a:cubicBezTo>
                  <a:cubicBezTo>
                    <a:pt x="383" y="199"/>
                    <a:pt x="378" y="198"/>
                    <a:pt x="375" y="196"/>
                  </a:cubicBezTo>
                  <a:cubicBezTo>
                    <a:pt x="353" y="183"/>
                    <a:pt x="331" y="171"/>
                    <a:pt x="310" y="158"/>
                  </a:cubicBezTo>
                  <a:cubicBezTo>
                    <a:pt x="308" y="157"/>
                    <a:pt x="307" y="156"/>
                    <a:pt x="305" y="154"/>
                  </a:cubicBezTo>
                  <a:cubicBezTo>
                    <a:pt x="310" y="151"/>
                    <a:pt x="314" y="149"/>
                    <a:pt x="319" y="146"/>
                  </a:cubicBezTo>
                  <a:cubicBezTo>
                    <a:pt x="312" y="145"/>
                    <a:pt x="305" y="144"/>
                    <a:pt x="300" y="140"/>
                  </a:cubicBezTo>
                  <a:cubicBezTo>
                    <a:pt x="295" y="138"/>
                    <a:pt x="292" y="135"/>
                    <a:pt x="291" y="132"/>
                  </a:cubicBezTo>
                  <a:moveTo>
                    <a:pt x="475" y="0"/>
                  </a:moveTo>
                  <a:cubicBezTo>
                    <a:pt x="475" y="21"/>
                    <a:pt x="475" y="21"/>
                    <a:pt x="475" y="21"/>
                  </a:cubicBezTo>
                  <a:cubicBezTo>
                    <a:pt x="475" y="24"/>
                    <a:pt x="473" y="26"/>
                    <a:pt x="472" y="27"/>
                  </a:cubicBezTo>
                  <a:cubicBezTo>
                    <a:pt x="425" y="54"/>
                    <a:pt x="377" y="82"/>
                    <a:pt x="330" y="109"/>
                  </a:cubicBezTo>
                  <a:cubicBezTo>
                    <a:pt x="336" y="110"/>
                    <a:pt x="341" y="111"/>
                    <a:pt x="346" y="114"/>
                  </a:cubicBezTo>
                  <a:cubicBezTo>
                    <a:pt x="351" y="117"/>
                    <a:pt x="354" y="121"/>
                    <a:pt x="355" y="125"/>
                  </a:cubicBezTo>
                  <a:cubicBezTo>
                    <a:pt x="410" y="93"/>
                    <a:pt x="464" y="62"/>
                    <a:pt x="519" y="30"/>
                  </a:cubicBezTo>
                  <a:cubicBezTo>
                    <a:pt x="516" y="28"/>
                    <a:pt x="514" y="27"/>
                    <a:pt x="513" y="26"/>
                  </a:cubicBezTo>
                  <a:cubicBezTo>
                    <a:pt x="503" y="20"/>
                    <a:pt x="493" y="14"/>
                    <a:pt x="483" y="9"/>
                  </a:cubicBezTo>
                  <a:cubicBezTo>
                    <a:pt x="478" y="6"/>
                    <a:pt x="475" y="4"/>
                    <a:pt x="475" y="0"/>
                  </a:cubicBezTo>
                  <a:cubicBezTo>
                    <a:pt x="475" y="0"/>
                    <a:pt x="475" y="0"/>
                    <a:pt x="475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0" name="任意多边形 169">
              <a:extLst>
                <a:ext uri="{FF2B5EF4-FFF2-40B4-BE49-F238E27FC236}">
                  <a16:creationId xmlns:a16="http://schemas.microsoft.com/office/drawing/2014/main" id="{61E1A29F-FCFB-4007-9A94-B5E116ED0DA1}"/>
                </a:ext>
              </a:extLst>
            </p:cNvPr>
            <p:cNvSpPr/>
            <p:nvPr/>
          </p:nvSpPr>
          <p:spPr bwMode="auto">
            <a:xfrm>
              <a:off x="7732714" y="4454526"/>
              <a:ext cx="166688" cy="96838"/>
            </a:xfrm>
            <a:custGeom>
              <a:avLst/>
              <a:gdLst>
                <a:gd name="T0" fmla="*/ 39 w 64"/>
                <a:gd name="T1" fmla="*/ 0 h 37"/>
                <a:gd name="T2" fmla="*/ 0 w 64"/>
                <a:gd name="T3" fmla="*/ 23 h 37"/>
                <a:gd name="T4" fmla="*/ 9 w 64"/>
                <a:gd name="T5" fmla="*/ 31 h 37"/>
                <a:gd name="T6" fmla="*/ 28 w 64"/>
                <a:gd name="T7" fmla="*/ 37 h 37"/>
                <a:gd name="T8" fmla="*/ 64 w 64"/>
                <a:gd name="T9" fmla="*/ 16 h 37"/>
                <a:gd name="T10" fmla="*/ 55 w 64"/>
                <a:gd name="T11" fmla="*/ 5 h 37"/>
                <a:gd name="T12" fmla="*/ 39 w 64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37">
                  <a:moveTo>
                    <a:pt x="39" y="0"/>
                  </a:moveTo>
                  <a:cubicBezTo>
                    <a:pt x="26" y="7"/>
                    <a:pt x="13" y="15"/>
                    <a:pt x="0" y="23"/>
                  </a:cubicBezTo>
                  <a:cubicBezTo>
                    <a:pt x="1" y="26"/>
                    <a:pt x="4" y="29"/>
                    <a:pt x="9" y="31"/>
                  </a:cubicBezTo>
                  <a:cubicBezTo>
                    <a:pt x="14" y="35"/>
                    <a:pt x="21" y="36"/>
                    <a:pt x="28" y="37"/>
                  </a:cubicBezTo>
                  <a:cubicBezTo>
                    <a:pt x="40" y="30"/>
                    <a:pt x="52" y="23"/>
                    <a:pt x="64" y="16"/>
                  </a:cubicBezTo>
                  <a:cubicBezTo>
                    <a:pt x="63" y="12"/>
                    <a:pt x="60" y="8"/>
                    <a:pt x="55" y="5"/>
                  </a:cubicBezTo>
                  <a:cubicBezTo>
                    <a:pt x="50" y="2"/>
                    <a:pt x="45" y="1"/>
                    <a:pt x="39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1" name="任意多边形 170">
              <a:extLst>
                <a:ext uri="{FF2B5EF4-FFF2-40B4-BE49-F238E27FC236}">
                  <a16:creationId xmlns:a16="http://schemas.microsoft.com/office/drawing/2014/main" id="{337F06DB-6DD7-4A1A-B86C-6884C94FB066}"/>
                </a:ext>
              </a:extLst>
            </p:cNvPr>
            <p:cNvSpPr/>
            <p:nvPr/>
          </p:nvSpPr>
          <p:spPr bwMode="auto">
            <a:xfrm>
              <a:off x="7461251" y="4286251"/>
              <a:ext cx="68263" cy="304800"/>
            </a:xfrm>
            <a:custGeom>
              <a:avLst/>
              <a:gdLst>
                <a:gd name="T0" fmla="*/ 18 w 26"/>
                <a:gd name="T1" fmla="*/ 113 h 117"/>
                <a:gd name="T2" fmla="*/ 20 w 26"/>
                <a:gd name="T3" fmla="*/ 114 h 117"/>
                <a:gd name="T4" fmla="*/ 20 w 26"/>
                <a:gd name="T5" fmla="*/ 114 h 117"/>
                <a:gd name="T6" fmla="*/ 18 w 26"/>
                <a:gd name="T7" fmla="*/ 113 h 117"/>
                <a:gd name="T8" fmla="*/ 26 w 26"/>
                <a:gd name="T9" fmla="*/ 108 h 117"/>
                <a:gd name="T10" fmla="*/ 23 w 26"/>
                <a:gd name="T11" fmla="*/ 113 h 117"/>
                <a:gd name="T12" fmla="*/ 23 w 26"/>
                <a:gd name="T13" fmla="*/ 113 h 117"/>
                <a:gd name="T14" fmla="*/ 23 w 26"/>
                <a:gd name="T15" fmla="*/ 113 h 117"/>
                <a:gd name="T16" fmla="*/ 23 w 26"/>
                <a:gd name="T17" fmla="*/ 113 h 117"/>
                <a:gd name="T18" fmla="*/ 26 w 26"/>
                <a:gd name="T19" fmla="*/ 108 h 117"/>
                <a:gd name="T20" fmla="*/ 26 w 26"/>
                <a:gd name="T21" fmla="*/ 108 h 117"/>
                <a:gd name="T22" fmla="*/ 26 w 26"/>
                <a:gd name="T23" fmla="*/ 108 h 117"/>
                <a:gd name="T24" fmla="*/ 26 w 26"/>
                <a:gd name="T25" fmla="*/ 108 h 117"/>
                <a:gd name="T26" fmla="*/ 26 w 26"/>
                <a:gd name="T27" fmla="*/ 108 h 117"/>
                <a:gd name="T28" fmla="*/ 26 w 26"/>
                <a:gd name="T29" fmla="*/ 108 h 117"/>
                <a:gd name="T30" fmla="*/ 26 w 26"/>
                <a:gd name="T31" fmla="*/ 108 h 117"/>
                <a:gd name="T32" fmla="*/ 26 w 26"/>
                <a:gd name="T33" fmla="*/ 85 h 117"/>
                <a:gd name="T34" fmla="*/ 26 w 26"/>
                <a:gd name="T35" fmla="*/ 108 h 117"/>
                <a:gd name="T36" fmla="*/ 26 w 26"/>
                <a:gd name="T37" fmla="*/ 85 h 117"/>
                <a:gd name="T38" fmla="*/ 26 w 26"/>
                <a:gd name="T39" fmla="*/ 85 h 117"/>
                <a:gd name="T40" fmla="*/ 26 w 26"/>
                <a:gd name="T41" fmla="*/ 85 h 117"/>
                <a:gd name="T42" fmla="*/ 26 w 26"/>
                <a:gd name="T43" fmla="*/ 85 h 117"/>
                <a:gd name="T44" fmla="*/ 26 w 26"/>
                <a:gd name="T45" fmla="*/ 85 h 117"/>
                <a:gd name="T46" fmla="*/ 26 w 26"/>
                <a:gd name="T47" fmla="*/ 85 h 117"/>
                <a:gd name="T48" fmla="*/ 26 w 26"/>
                <a:gd name="T49" fmla="*/ 85 h 117"/>
                <a:gd name="T50" fmla="*/ 26 w 26"/>
                <a:gd name="T51" fmla="*/ 85 h 117"/>
                <a:gd name="T52" fmla="*/ 26 w 26"/>
                <a:gd name="T53" fmla="*/ 85 h 117"/>
                <a:gd name="T54" fmla="*/ 26 w 26"/>
                <a:gd name="T55" fmla="*/ 85 h 117"/>
                <a:gd name="T56" fmla="*/ 26 w 26"/>
                <a:gd name="T57" fmla="*/ 85 h 117"/>
                <a:gd name="T58" fmla="*/ 26 w 26"/>
                <a:gd name="T59" fmla="*/ 85 h 117"/>
                <a:gd name="T60" fmla="*/ 26 w 26"/>
                <a:gd name="T61" fmla="*/ 85 h 117"/>
                <a:gd name="T62" fmla="*/ 26 w 26"/>
                <a:gd name="T63" fmla="*/ 85 h 117"/>
                <a:gd name="T64" fmla="*/ 26 w 26"/>
                <a:gd name="T65" fmla="*/ 85 h 117"/>
                <a:gd name="T66" fmla="*/ 26 w 26"/>
                <a:gd name="T67" fmla="*/ 85 h 117"/>
                <a:gd name="T68" fmla="*/ 26 w 26"/>
                <a:gd name="T69" fmla="*/ 84 h 117"/>
                <a:gd name="T70" fmla="*/ 26 w 26"/>
                <a:gd name="T71" fmla="*/ 84 h 117"/>
                <a:gd name="T72" fmla="*/ 26 w 26"/>
                <a:gd name="T73" fmla="*/ 84 h 117"/>
                <a:gd name="T74" fmla="*/ 26 w 26"/>
                <a:gd name="T75" fmla="*/ 84 h 117"/>
                <a:gd name="T76" fmla="*/ 26 w 26"/>
                <a:gd name="T77" fmla="*/ 84 h 117"/>
                <a:gd name="T78" fmla="*/ 26 w 26"/>
                <a:gd name="T79" fmla="*/ 84 h 117"/>
                <a:gd name="T80" fmla="*/ 26 w 26"/>
                <a:gd name="T81" fmla="*/ 84 h 117"/>
                <a:gd name="T82" fmla="*/ 26 w 26"/>
                <a:gd name="T83" fmla="*/ 84 h 117"/>
                <a:gd name="T84" fmla="*/ 26 w 26"/>
                <a:gd name="T85" fmla="*/ 84 h 117"/>
                <a:gd name="T86" fmla="*/ 0 w 26"/>
                <a:gd name="T87" fmla="*/ 0 h 117"/>
                <a:gd name="T88" fmla="*/ 12 w 26"/>
                <a:gd name="T89" fmla="*/ 117 h 117"/>
                <a:gd name="T90" fmla="*/ 11 w 26"/>
                <a:gd name="T91" fmla="*/ 109 h 117"/>
                <a:gd name="T92" fmla="*/ 16 w 26"/>
                <a:gd name="T93" fmla="*/ 112 h 117"/>
                <a:gd name="T94" fmla="*/ 16 w 26"/>
                <a:gd name="T95" fmla="*/ 112 h 117"/>
                <a:gd name="T96" fmla="*/ 11 w 26"/>
                <a:gd name="T97" fmla="*/ 109 h 117"/>
                <a:gd name="T98" fmla="*/ 11 w 26"/>
                <a:gd name="T99" fmla="*/ 109 h 117"/>
                <a:gd name="T100" fmla="*/ 10 w 26"/>
                <a:gd name="T101" fmla="*/ 99 h 117"/>
                <a:gd name="T102" fmla="*/ 10 w 26"/>
                <a:gd name="T103" fmla="*/ 99 h 117"/>
                <a:gd name="T104" fmla="*/ 6 w 26"/>
                <a:gd name="T105" fmla="*/ 60 h 117"/>
                <a:gd name="T106" fmla="*/ 6 w 26"/>
                <a:gd name="T107" fmla="*/ 60 h 117"/>
                <a:gd name="T108" fmla="*/ 5 w 26"/>
                <a:gd name="T109" fmla="*/ 49 h 117"/>
                <a:gd name="T110" fmla="*/ 5 w 26"/>
                <a:gd name="T111" fmla="*/ 49 h 117"/>
                <a:gd name="T112" fmla="*/ 0 w 26"/>
                <a:gd name="T113" fmla="*/ 0 h 117"/>
                <a:gd name="T114" fmla="*/ 0 w 26"/>
                <a:gd name="T11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" h="117">
                  <a:moveTo>
                    <a:pt x="18" y="113"/>
                  </a:moveTo>
                  <a:cubicBezTo>
                    <a:pt x="19" y="113"/>
                    <a:pt x="19" y="113"/>
                    <a:pt x="20" y="114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9" y="113"/>
                    <a:pt x="19" y="113"/>
                    <a:pt x="18" y="113"/>
                  </a:cubicBezTo>
                  <a:moveTo>
                    <a:pt x="26" y="108"/>
                  </a:moveTo>
                  <a:cubicBezTo>
                    <a:pt x="26" y="110"/>
                    <a:pt x="25" y="112"/>
                    <a:pt x="23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5" y="112"/>
                    <a:pt x="26" y="110"/>
                    <a:pt x="26" y="108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26" y="108"/>
                    <a:pt x="26" y="108"/>
                    <a:pt x="26" y="108"/>
                  </a:cubicBezTo>
                  <a:moveTo>
                    <a:pt x="26" y="108"/>
                  </a:moveTo>
                  <a:cubicBezTo>
                    <a:pt x="26" y="108"/>
                    <a:pt x="26" y="108"/>
                    <a:pt x="26" y="108"/>
                  </a:cubicBezTo>
                  <a:cubicBezTo>
                    <a:pt x="26" y="108"/>
                    <a:pt x="26" y="108"/>
                    <a:pt x="26" y="108"/>
                  </a:cubicBezTo>
                  <a:moveTo>
                    <a:pt x="26" y="85"/>
                  </a:moveTo>
                  <a:cubicBezTo>
                    <a:pt x="26" y="108"/>
                    <a:pt x="26" y="107"/>
                    <a:pt x="26" y="108"/>
                  </a:cubicBezTo>
                  <a:cubicBezTo>
                    <a:pt x="26" y="107"/>
                    <a:pt x="26" y="108"/>
                    <a:pt x="26" y="85"/>
                  </a:cubicBezTo>
                  <a:moveTo>
                    <a:pt x="26" y="85"/>
                  </a:moveTo>
                  <a:cubicBezTo>
                    <a:pt x="26" y="85"/>
                    <a:pt x="26" y="85"/>
                    <a:pt x="26" y="85"/>
                  </a:cubicBezTo>
                  <a:cubicBezTo>
                    <a:pt x="26" y="85"/>
                    <a:pt x="26" y="85"/>
                    <a:pt x="26" y="85"/>
                  </a:cubicBezTo>
                  <a:moveTo>
                    <a:pt x="26" y="85"/>
                  </a:moveTo>
                  <a:cubicBezTo>
                    <a:pt x="26" y="85"/>
                    <a:pt x="26" y="85"/>
                    <a:pt x="26" y="85"/>
                  </a:cubicBezTo>
                  <a:cubicBezTo>
                    <a:pt x="26" y="85"/>
                    <a:pt x="26" y="85"/>
                    <a:pt x="26" y="85"/>
                  </a:cubicBezTo>
                  <a:moveTo>
                    <a:pt x="26" y="85"/>
                  </a:moveTo>
                  <a:cubicBezTo>
                    <a:pt x="26" y="85"/>
                    <a:pt x="26" y="85"/>
                    <a:pt x="26" y="85"/>
                  </a:cubicBezTo>
                  <a:cubicBezTo>
                    <a:pt x="26" y="85"/>
                    <a:pt x="26" y="85"/>
                    <a:pt x="26" y="85"/>
                  </a:cubicBezTo>
                  <a:moveTo>
                    <a:pt x="26" y="85"/>
                  </a:moveTo>
                  <a:cubicBezTo>
                    <a:pt x="26" y="85"/>
                    <a:pt x="26" y="85"/>
                    <a:pt x="26" y="85"/>
                  </a:cubicBezTo>
                  <a:cubicBezTo>
                    <a:pt x="26" y="85"/>
                    <a:pt x="26" y="85"/>
                    <a:pt x="26" y="85"/>
                  </a:cubicBezTo>
                  <a:moveTo>
                    <a:pt x="26" y="85"/>
                  </a:moveTo>
                  <a:cubicBezTo>
                    <a:pt x="26" y="85"/>
                    <a:pt x="26" y="85"/>
                    <a:pt x="26" y="85"/>
                  </a:cubicBezTo>
                  <a:cubicBezTo>
                    <a:pt x="26" y="85"/>
                    <a:pt x="26" y="85"/>
                    <a:pt x="26" y="85"/>
                  </a:cubicBezTo>
                  <a:moveTo>
                    <a:pt x="26" y="84"/>
                  </a:move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6" y="84"/>
                    <a:pt x="26" y="84"/>
                  </a:cubicBezTo>
                  <a:moveTo>
                    <a:pt x="26" y="84"/>
                  </a:move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6" y="84"/>
                    <a:pt x="26" y="84"/>
                  </a:cubicBezTo>
                  <a:moveTo>
                    <a:pt x="26" y="84"/>
                  </a:move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6" y="84"/>
                    <a:pt x="26" y="84"/>
                  </a:cubicBezTo>
                  <a:moveTo>
                    <a:pt x="0" y="0"/>
                  </a:moveTo>
                  <a:cubicBezTo>
                    <a:pt x="3" y="34"/>
                    <a:pt x="7" y="74"/>
                    <a:pt x="12" y="117"/>
                  </a:cubicBezTo>
                  <a:cubicBezTo>
                    <a:pt x="11" y="114"/>
                    <a:pt x="11" y="112"/>
                    <a:pt x="11" y="109"/>
                  </a:cubicBezTo>
                  <a:cubicBezTo>
                    <a:pt x="14" y="111"/>
                    <a:pt x="15" y="112"/>
                    <a:pt x="16" y="112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1" y="106"/>
                    <a:pt x="10" y="103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8" y="86"/>
                    <a:pt x="7" y="73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5" y="56"/>
                    <a:pt x="5" y="52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3" y="32"/>
                    <a:pt x="1" y="1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2" name="任意多边形 171">
              <a:extLst>
                <a:ext uri="{FF2B5EF4-FFF2-40B4-BE49-F238E27FC236}">
                  <a16:creationId xmlns:a16="http://schemas.microsoft.com/office/drawing/2014/main" id="{4B8DA148-ECAC-48F8-9CE8-246D7C3BB9B2}"/>
                </a:ext>
              </a:extLst>
            </p:cNvPr>
            <p:cNvSpPr/>
            <p:nvPr/>
          </p:nvSpPr>
          <p:spPr bwMode="auto">
            <a:xfrm>
              <a:off x="8208964" y="4095751"/>
              <a:ext cx="3175" cy="74613"/>
            </a:xfrm>
            <a:custGeom>
              <a:avLst/>
              <a:gdLst>
                <a:gd name="T0" fmla="*/ 1 w 1"/>
                <a:gd name="T1" fmla="*/ 14 h 29"/>
                <a:gd name="T2" fmla="*/ 1 w 1"/>
                <a:gd name="T3" fmla="*/ 29 h 29"/>
                <a:gd name="T4" fmla="*/ 1 w 1"/>
                <a:gd name="T5" fmla="*/ 29 h 29"/>
                <a:gd name="T6" fmla="*/ 1 w 1"/>
                <a:gd name="T7" fmla="*/ 25 h 29"/>
                <a:gd name="T8" fmla="*/ 1 w 1"/>
                <a:gd name="T9" fmla="*/ 14 h 29"/>
                <a:gd name="T10" fmla="*/ 0 w 1"/>
                <a:gd name="T11" fmla="*/ 0 h 29"/>
                <a:gd name="T12" fmla="*/ 0 w 1"/>
                <a:gd name="T13" fmla="*/ 0 h 29"/>
                <a:gd name="T14" fmla="*/ 0 w 1"/>
                <a:gd name="T15" fmla="*/ 0 h 29"/>
                <a:gd name="T16" fmla="*/ 0 w 1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29">
                  <a:moveTo>
                    <a:pt x="1" y="14"/>
                  </a:move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7"/>
                    <a:pt x="1" y="26"/>
                    <a:pt x="1" y="25"/>
                  </a:cubicBezTo>
                  <a:cubicBezTo>
                    <a:pt x="1" y="21"/>
                    <a:pt x="1" y="18"/>
                    <a:pt x="1" y="14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796D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3" name="任意多边形 172">
              <a:extLst>
                <a:ext uri="{FF2B5EF4-FFF2-40B4-BE49-F238E27FC236}">
                  <a16:creationId xmlns:a16="http://schemas.microsoft.com/office/drawing/2014/main" id="{876C9B9B-31A8-41DB-87AD-252EF7B05EFB}"/>
                </a:ext>
              </a:extLst>
            </p:cNvPr>
            <p:cNvSpPr/>
            <p:nvPr/>
          </p:nvSpPr>
          <p:spPr bwMode="auto">
            <a:xfrm>
              <a:off x="7529514" y="4095751"/>
              <a:ext cx="682625" cy="527050"/>
            </a:xfrm>
            <a:custGeom>
              <a:avLst/>
              <a:gdLst>
                <a:gd name="T0" fmla="*/ 261 w 262"/>
                <a:gd name="T1" fmla="*/ 0 h 202"/>
                <a:gd name="T2" fmla="*/ 49 w 262"/>
                <a:gd name="T3" fmla="*/ 121 h 202"/>
                <a:gd name="T4" fmla="*/ 36 w 262"/>
                <a:gd name="T5" fmla="*/ 113 h 202"/>
                <a:gd name="T6" fmla="*/ 0 w 262"/>
                <a:gd name="T7" fmla="*/ 134 h 202"/>
                <a:gd name="T8" fmla="*/ 9 w 262"/>
                <a:gd name="T9" fmla="*/ 151 h 202"/>
                <a:gd name="T10" fmla="*/ 9 w 262"/>
                <a:gd name="T11" fmla="*/ 195 h 202"/>
                <a:gd name="T12" fmla="*/ 9 w 262"/>
                <a:gd name="T13" fmla="*/ 195 h 202"/>
                <a:gd name="T14" fmla="*/ 7 w 262"/>
                <a:gd name="T15" fmla="*/ 202 h 202"/>
                <a:gd name="T16" fmla="*/ 78 w 262"/>
                <a:gd name="T17" fmla="*/ 161 h 202"/>
                <a:gd name="T18" fmla="*/ 117 w 262"/>
                <a:gd name="T19" fmla="*/ 138 h 202"/>
                <a:gd name="T20" fmla="*/ 259 w 262"/>
                <a:gd name="T21" fmla="*/ 56 h 202"/>
                <a:gd name="T22" fmla="*/ 262 w 262"/>
                <a:gd name="T23" fmla="*/ 50 h 202"/>
                <a:gd name="T24" fmla="*/ 262 w 262"/>
                <a:gd name="T25" fmla="*/ 29 h 202"/>
                <a:gd name="T26" fmla="*/ 262 w 262"/>
                <a:gd name="T27" fmla="*/ 14 h 202"/>
                <a:gd name="T28" fmla="*/ 261 w 262"/>
                <a:gd name="T29" fmla="*/ 0 h 202"/>
                <a:gd name="T30" fmla="*/ 261 w 262"/>
                <a:gd name="T31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2" h="202">
                  <a:moveTo>
                    <a:pt x="261" y="0"/>
                  </a:moveTo>
                  <a:cubicBezTo>
                    <a:pt x="188" y="41"/>
                    <a:pt x="119" y="82"/>
                    <a:pt x="49" y="121"/>
                  </a:cubicBezTo>
                  <a:cubicBezTo>
                    <a:pt x="45" y="118"/>
                    <a:pt x="40" y="115"/>
                    <a:pt x="36" y="113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5" y="137"/>
                    <a:pt x="9" y="144"/>
                    <a:pt x="9" y="151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9" y="198"/>
                    <a:pt x="9" y="200"/>
                    <a:pt x="7" y="202"/>
                  </a:cubicBezTo>
                  <a:cubicBezTo>
                    <a:pt x="30" y="188"/>
                    <a:pt x="54" y="174"/>
                    <a:pt x="78" y="161"/>
                  </a:cubicBezTo>
                  <a:cubicBezTo>
                    <a:pt x="91" y="153"/>
                    <a:pt x="104" y="145"/>
                    <a:pt x="117" y="138"/>
                  </a:cubicBezTo>
                  <a:cubicBezTo>
                    <a:pt x="164" y="111"/>
                    <a:pt x="212" y="83"/>
                    <a:pt x="259" y="56"/>
                  </a:cubicBezTo>
                  <a:cubicBezTo>
                    <a:pt x="260" y="55"/>
                    <a:pt x="262" y="53"/>
                    <a:pt x="262" y="50"/>
                  </a:cubicBezTo>
                  <a:cubicBezTo>
                    <a:pt x="262" y="29"/>
                    <a:pt x="262" y="29"/>
                    <a:pt x="262" y="29"/>
                  </a:cubicBezTo>
                  <a:cubicBezTo>
                    <a:pt x="262" y="14"/>
                    <a:pt x="262" y="14"/>
                    <a:pt x="262" y="14"/>
                  </a:cubicBezTo>
                  <a:cubicBezTo>
                    <a:pt x="261" y="9"/>
                    <a:pt x="261" y="5"/>
                    <a:pt x="261" y="0"/>
                  </a:cubicBezTo>
                  <a:cubicBezTo>
                    <a:pt x="261" y="0"/>
                    <a:pt x="261" y="0"/>
                    <a:pt x="261" y="0"/>
                  </a:cubicBezTo>
                </a:path>
              </a:pathLst>
            </a:custGeom>
            <a:solidFill>
              <a:srgbClr val="6E24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4" name="任意多边形 173">
              <a:extLst>
                <a:ext uri="{FF2B5EF4-FFF2-40B4-BE49-F238E27FC236}">
                  <a16:creationId xmlns:a16="http://schemas.microsoft.com/office/drawing/2014/main" id="{3A6F33D9-AC6E-4FDA-8964-6958A26AB59C}"/>
                </a:ext>
              </a:extLst>
            </p:cNvPr>
            <p:cNvSpPr/>
            <p:nvPr/>
          </p:nvSpPr>
          <p:spPr bwMode="auto">
            <a:xfrm>
              <a:off x="7461251" y="4286251"/>
              <a:ext cx="161925" cy="158750"/>
            </a:xfrm>
            <a:custGeom>
              <a:avLst/>
              <a:gdLst>
                <a:gd name="T0" fmla="*/ 0 w 62"/>
                <a:gd name="T1" fmla="*/ 0 h 61"/>
                <a:gd name="T2" fmla="*/ 5 w 62"/>
                <a:gd name="T3" fmla="*/ 49 h 61"/>
                <a:gd name="T4" fmla="*/ 5 w 62"/>
                <a:gd name="T5" fmla="*/ 49 h 61"/>
                <a:gd name="T6" fmla="*/ 5 w 62"/>
                <a:gd name="T7" fmla="*/ 49 h 61"/>
                <a:gd name="T8" fmla="*/ 26 w 62"/>
                <a:gd name="T9" fmla="*/ 61 h 61"/>
                <a:gd name="T10" fmla="*/ 26 w 62"/>
                <a:gd name="T11" fmla="*/ 61 h 61"/>
                <a:gd name="T12" fmla="*/ 62 w 62"/>
                <a:gd name="T13" fmla="*/ 40 h 61"/>
                <a:gd name="T14" fmla="*/ 53 w 62"/>
                <a:gd name="T15" fmla="*/ 34 h 61"/>
                <a:gd name="T16" fmla="*/ 6 w 62"/>
                <a:gd name="T17" fmla="*/ 7 h 61"/>
                <a:gd name="T18" fmla="*/ 0 w 62"/>
                <a:gd name="T1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0" y="0"/>
                  </a:moveTo>
                  <a:cubicBezTo>
                    <a:pt x="1" y="16"/>
                    <a:pt x="3" y="32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59" y="38"/>
                    <a:pt x="56" y="36"/>
                    <a:pt x="53" y="34"/>
                  </a:cubicBezTo>
                  <a:cubicBezTo>
                    <a:pt x="38" y="25"/>
                    <a:pt x="22" y="16"/>
                    <a:pt x="6" y="7"/>
                  </a:cubicBezTo>
                  <a:cubicBezTo>
                    <a:pt x="3" y="5"/>
                    <a:pt x="1" y="3"/>
                    <a:pt x="0" y="0"/>
                  </a:cubicBezTo>
                </a:path>
              </a:pathLst>
            </a:custGeom>
            <a:solidFill>
              <a:srgbClr val="812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5" name="任意多边形 174">
              <a:extLst>
                <a:ext uri="{FF2B5EF4-FFF2-40B4-BE49-F238E27FC236}">
                  <a16:creationId xmlns:a16="http://schemas.microsoft.com/office/drawing/2014/main" id="{F115B6A6-2FF8-480C-ADDA-FFE1E573DE11}"/>
                </a:ext>
              </a:extLst>
            </p:cNvPr>
            <p:cNvSpPr/>
            <p:nvPr/>
          </p:nvSpPr>
          <p:spPr bwMode="auto">
            <a:xfrm>
              <a:off x="7473951" y="4413251"/>
              <a:ext cx="77788" cy="209550"/>
            </a:xfrm>
            <a:custGeom>
              <a:avLst/>
              <a:gdLst>
                <a:gd name="T0" fmla="*/ 0 w 30"/>
                <a:gd name="T1" fmla="*/ 0 h 80"/>
                <a:gd name="T2" fmla="*/ 0 w 30"/>
                <a:gd name="T3" fmla="*/ 0 h 80"/>
                <a:gd name="T4" fmla="*/ 1 w 30"/>
                <a:gd name="T5" fmla="*/ 11 h 80"/>
                <a:gd name="T6" fmla="*/ 1 w 30"/>
                <a:gd name="T7" fmla="*/ 11 h 80"/>
                <a:gd name="T8" fmla="*/ 1 w 30"/>
                <a:gd name="T9" fmla="*/ 11 h 80"/>
                <a:gd name="T10" fmla="*/ 11 w 30"/>
                <a:gd name="T11" fmla="*/ 17 h 80"/>
                <a:gd name="T12" fmla="*/ 21 w 30"/>
                <a:gd name="T13" fmla="*/ 34 h 80"/>
                <a:gd name="T14" fmla="*/ 21 w 30"/>
                <a:gd name="T15" fmla="*/ 35 h 80"/>
                <a:gd name="T16" fmla="*/ 21 w 30"/>
                <a:gd name="T17" fmla="*/ 35 h 80"/>
                <a:gd name="T18" fmla="*/ 21 w 30"/>
                <a:gd name="T19" fmla="*/ 35 h 80"/>
                <a:gd name="T20" fmla="*/ 21 w 30"/>
                <a:gd name="T21" fmla="*/ 35 h 80"/>
                <a:gd name="T22" fmla="*/ 21 w 30"/>
                <a:gd name="T23" fmla="*/ 35 h 80"/>
                <a:gd name="T24" fmla="*/ 21 w 30"/>
                <a:gd name="T25" fmla="*/ 35 h 80"/>
                <a:gd name="T26" fmla="*/ 21 w 30"/>
                <a:gd name="T27" fmla="*/ 36 h 80"/>
                <a:gd name="T28" fmla="*/ 21 w 30"/>
                <a:gd name="T29" fmla="*/ 36 h 80"/>
                <a:gd name="T30" fmla="*/ 21 w 30"/>
                <a:gd name="T31" fmla="*/ 36 h 80"/>
                <a:gd name="T32" fmla="*/ 21 w 30"/>
                <a:gd name="T33" fmla="*/ 36 h 80"/>
                <a:gd name="T34" fmla="*/ 21 w 30"/>
                <a:gd name="T35" fmla="*/ 36 h 80"/>
                <a:gd name="T36" fmla="*/ 21 w 30"/>
                <a:gd name="T37" fmla="*/ 36 h 80"/>
                <a:gd name="T38" fmla="*/ 21 w 30"/>
                <a:gd name="T39" fmla="*/ 36 h 80"/>
                <a:gd name="T40" fmla="*/ 21 w 30"/>
                <a:gd name="T41" fmla="*/ 36 h 80"/>
                <a:gd name="T42" fmla="*/ 21 w 30"/>
                <a:gd name="T43" fmla="*/ 36 h 80"/>
                <a:gd name="T44" fmla="*/ 21 w 30"/>
                <a:gd name="T45" fmla="*/ 36 h 80"/>
                <a:gd name="T46" fmla="*/ 21 w 30"/>
                <a:gd name="T47" fmla="*/ 36 h 80"/>
                <a:gd name="T48" fmla="*/ 21 w 30"/>
                <a:gd name="T49" fmla="*/ 59 h 80"/>
                <a:gd name="T50" fmla="*/ 21 w 30"/>
                <a:gd name="T51" fmla="*/ 59 h 80"/>
                <a:gd name="T52" fmla="*/ 21 w 30"/>
                <a:gd name="T53" fmla="*/ 59 h 80"/>
                <a:gd name="T54" fmla="*/ 18 w 30"/>
                <a:gd name="T55" fmla="*/ 64 h 80"/>
                <a:gd name="T56" fmla="*/ 18 w 30"/>
                <a:gd name="T57" fmla="*/ 64 h 80"/>
                <a:gd name="T58" fmla="*/ 16 w 30"/>
                <a:gd name="T59" fmla="*/ 65 h 80"/>
                <a:gd name="T60" fmla="*/ 15 w 30"/>
                <a:gd name="T61" fmla="*/ 65 h 80"/>
                <a:gd name="T62" fmla="*/ 15 w 30"/>
                <a:gd name="T63" fmla="*/ 65 h 80"/>
                <a:gd name="T64" fmla="*/ 13 w 30"/>
                <a:gd name="T65" fmla="*/ 64 h 80"/>
                <a:gd name="T66" fmla="*/ 11 w 30"/>
                <a:gd name="T67" fmla="*/ 63 h 80"/>
                <a:gd name="T68" fmla="*/ 6 w 30"/>
                <a:gd name="T69" fmla="*/ 60 h 80"/>
                <a:gd name="T70" fmla="*/ 7 w 30"/>
                <a:gd name="T71" fmla="*/ 68 h 80"/>
                <a:gd name="T72" fmla="*/ 7 w 30"/>
                <a:gd name="T73" fmla="*/ 71 h 80"/>
                <a:gd name="T74" fmla="*/ 7 w 30"/>
                <a:gd name="T75" fmla="*/ 71 h 80"/>
                <a:gd name="T76" fmla="*/ 21 w 30"/>
                <a:gd name="T77" fmla="*/ 79 h 80"/>
                <a:gd name="T78" fmla="*/ 25 w 30"/>
                <a:gd name="T79" fmla="*/ 80 h 80"/>
                <a:gd name="T80" fmla="*/ 26 w 30"/>
                <a:gd name="T81" fmla="*/ 80 h 80"/>
                <a:gd name="T82" fmla="*/ 28 w 30"/>
                <a:gd name="T83" fmla="*/ 80 h 80"/>
                <a:gd name="T84" fmla="*/ 30 w 30"/>
                <a:gd name="T85" fmla="*/ 73 h 80"/>
                <a:gd name="T86" fmla="*/ 30 w 30"/>
                <a:gd name="T87" fmla="*/ 73 h 80"/>
                <a:gd name="T88" fmla="*/ 30 w 30"/>
                <a:gd name="T89" fmla="*/ 29 h 80"/>
                <a:gd name="T90" fmla="*/ 21 w 30"/>
                <a:gd name="T91" fmla="*/ 12 h 80"/>
                <a:gd name="T92" fmla="*/ 21 w 30"/>
                <a:gd name="T93" fmla="*/ 12 h 80"/>
                <a:gd name="T94" fmla="*/ 21 w 30"/>
                <a:gd name="T95" fmla="*/ 12 h 80"/>
                <a:gd name="T96" fmla="*/ 0 w 30"/>
                <a:gd name="T9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" h="8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7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7" y="20"/>
                    <a:pt x="21" y="28"/>
                    <a:pt x="21" y="34"/>
                  </a:cubicBezTo>
                  <a:cubicBezTo>
                    <a:pt x="21" y="34"/>
                    <a:pt x="21" y="34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59"/>
                    <a:pt x="21" y="58"/>
                    <a:pt x="21" y="59"/>
                  </a:cubicBezTo>
                  <a:cubicBezTo>
                    <a:pt x="21" y="59"/>
                    <a:pt x="21" y="59"/>
                    <a:pt x="21" y="59"/>
                  </a:cubicBezTo>
                  <a:cubicBezTo>
                    <a:pt x="21" y="59"/>
                    <a:pt x="21" y="59"/>
                    <a:pt x="21" y="59"/>
                  </a:cubicBezTo>
                  <a:cubicBezTo>
                    <a:pt x="21" y="61"/>
                    <a:pt x="20" y="63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7" y="65"/>
                    <a:pt x="16" y="65"/>
                    <a:pt x="16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4" y="64"/>
                    <a:pt x="14" y="64"/>
                    <a:pt x="13" y="64"/>
                  </a:cubicBezTo>
                  <a:cubicBezTo>
                    <a:pt x="12" y="64"/>
                    <a:pt x="12" y="64"/>
                    <a:pt x="11" y="63"/>
                  </a:cubicBezTo>
                  <a:cubicBezTo>
                    <a:pt x="10" y="63"/>
                    <a:pt x="9" y="62"/>
                    <a:pt x="6" y="60"/>
                  </a:cubicBezTo>
                  <a:cubicBezTo>
                    <a:pt x="6" y="63"/>
                    <a:pt x="6" y="65"/>
                    <a:pt x="7" y="68"/>
                  </a:cubicBezTo>
                  <a:cubicBezTo>
                    <a:pt x="7" y="69"/>
                    <a:pt x="7" y="70"/>
                    <a:pt x="7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2" y="80"/>
                    <a:pt x="24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7" y="80"/>
                    <a:pt x="27" y="80"/>
                    <a:pt x="28" y="80"/>
                  </a:cubicBezTo>
                  <a:cubicBezTo>
                    <a:pt x="30" y="78"/>
                    <a:pt x="30" y="76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2"/>
                    <a:pt x="26" y="15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12B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6" name="任意多边形 175">
              <a:extLst>
                <a:ext uri="{FF2B5EF4-FFF2-40B4-BE49-F238E27FC236}">
                  <a16:creationId xmlns:a16="http://schemas.microsoft.com/office/drawing/2014/main" id="{444475A0-4BD3-482E-AB7D-E684C2C7A99D}"/>
                </a:ext>
              </a:extLst>
            </p:cNvPr>
            <p:cNvSpPr/>
            <p:nvPr/>
          </p:nvSpPr>
          <p:spPr bwMode="auto">
            <a:xfrm>
              <a:off x="7477126" y="4441826"/>
              <a:ext cx="52388" cy="125413"/>
            </a:xfrm>
            <a:custGeom>
              <a:avLst/>
              <a:gdLst>
                <a:gd name="T0" fmla="*/ 0 w 20"/>
                <a:gd name="T1" fmla="*/ 0 h 48"/>
                <a:gd name="T2" fmla="*/ 0 w 20"/>
                <a:gd name="T3" fmla="*/ 0 h 48"/>
                <a:gd name="T4" fmla="*/ 4 w 20"/>
                <a:gd name="T5" fmla="*/ 39 h 48"/>
                <a:gd name="T6" fmla="*/ 4 w 20"/>
                <a:gd name="T7" fmla="*/ 39 h 48"/>
                <a:gd name="T8" fmla="*/ 4 w 20"/>
                <a:gd name="T9" fmla="*/ 39 h 48"/>
                <a:gd name="T10" fmla="*/ 20 w 20"/>
                <a:gd name="T11" fmla="*/ 48 h 48"/>
                <a:gd name="T12" fmla="*/ 20 w 20"/>
                <a:gd name="T13" fmla="*/ 48 h 48"/>
                <a:gd name="T14" fmla="*/ 20 w 20"/>
                <a:gd name="T15" fmla="*/ 48 h 48"/>
                <a:gd name="T16" fmla="*/ 20 w 20"/>
                <a:gd name="T17" fmla="*/ 48 h 48"/>
                <a:gd name="T18" fmla="*/ 20 w 20"/>
                <a:gd name="T19" fmla="*/ 48 h 48"/>
                <a:gd name="T20" fmla="*/ 20 w 20"/>
                <a:gd name="T21" fmla="*/ 48 h 48"/>
                <a:gd name="T22" fmla="*/ 20 w 20"/>
                <a:gd name="T23" fmla="*/ 48 h 48"/>
                <a:gd name="T24" fmla="*/ 20 w 20"/>
                <a:gd name="T25" fmla="*/ 25 h 48"/>
                <a:gd name="T26" fmla="*/ 20 w 20"/>
                <a:gd name="T27" fmla="*/ 25 h 48"/>
                <a:gd name="T28" fmla="*/ 20 w 20"/>
                <a:gd name="T29" fmla="*/ 25 h 48"/>
                <a:gd name="T30" fmla="*/ 20 w 20"/>
                <a:gd name="T31" fmla="*/ 25 h 48"/>
                <a:gd name="T32" fmla="*/ 20 w 20"/>
                <a:gd name="T33" fmla="*/ 25 h 48"/>
                <a:gd name="T34" fmla="*/ 20 w 20"/>
                <a:gd name="T35" fmla="*/ 25 h 48"/>
                <a:gd name="T36" fmla="*/ 20 w 20"/>
                <a:gd name="T37" fmla="*/ 25 h 48"/>
                <a:gd name="T38" fmla="*/ 20 w 20"/>
                <a:gd name="T39" fmla="*/ 25 h 48"/>
                <a:gd name="T40" fmla="*/ 20 w 20"/>
                <a:gd name="T41" fmla="*/ 25 h 48"/>
                <a:gd name="T42" fmla="*/ 20 w 20"/>
                <a:gd name="T43" fmla="*/ 25 h 48"/>
                <a:gd name="T44" fmla="*/ 20 w 20"/>
                <a:gd name="T45" fmla="*/ 25 h 48"/>
                <a:gd name="T46" fmla="*/ 20 w 20"/>
                <a:gd name="T47" fmla="*/ 24 h 48"/>
                <a:gd name="T48" fmla="*/ 20 w 20"/>
                <a:gd name="T49" fmla="*/ 24 h 48"/>
                <a:gd name="T50" fmla="*/ 20 w 20"/>
                <a:gd name="T51" fmla="*/ 24 h 48"/>
                <a:gd name="T52" fmla="*/ 20 w 20"/>
                <a:gd name="T53" fmla="*/ 24 h 48"/>
                <a:gd name="T54" fmla="*/ 20 w 20"/>
                <a:gd name="T55" fmla="*/ 24 h 48"/>
                <a:gd name="T56" fmla="*/ 20 w 20"/>
                <a:gd name="T57" fmla="*/ 24 h 48"/>
                <a:gd name="T58" fmla="*/ 20 w 20"/>
                <a:gd name="T59" fmla="*/ 23 h 48"/>
                <a:gd name="T60" fmla="*/ 10 w 20"/>
                <a:gd name="T61" fmla="*/ 6 h 48"/>
                <a:gd name="T62" fmla="*/ 0 w 20"/>
                <a:gd name="T6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" h="4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3"/>
                    <a:pt x="2" y="26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18" y="48"/>
                    <a:pt x="19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7"/>
                    <a:pt x="20" y="48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17"/>
                    <a:pt x="16" y="9"/>
                    <a:pt x="10" y="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A89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7" name="任意多边形 176">
              <a:extLst>
                <a:ext uri="{FF2B5EF4-FFF2-40B4-BE49-F238E27FC236}">
                  <a16:creationId xmlns:a16="http://schemas.microsoft.com/office/drawing/2014/main" id="{B80BC089-3092-4F82-AE3C-68EEAB18CB95}"/>
                </a:ext>
              </a:extLst>
            </p:cNvPr>
            <p:cNvSpPr/>
            <p:nvPr/>
          </p:nvSpPr>
          <p:spPr bwMode="auto">
            <a:xfrm>
              <a:off x="7486651" y="4543426"/>
              <a:ext cx="42863" cy="39688"/>
            </a:xfrm>
            <a:custGeom>
              <a:avLst/>
              <a:gdLst>
                <a:gd name="T0" fmla="*/ 0 w 16"/>
                <a:gd name="T1" fmla="*/ 0 h 15"/>
                <a:gd name="T2" fmla="*/ 0 w 16"/>
                <a:gd name="T3" fmla="*/ 0 h 15"/>
                <a:gd name="T4" fmla="*/ 1 w 16"/>
                <a:gd name="T5" fmla="*/ 10 h 15"/>
                <a:gd name="T6" fmla="*/ 1 w 16"/>
                <a:gd name="T7" fmla="*/ 10 h 15"/>
                <a:gd name="T8" fmla="*/ 6 w 16"/>
                <a:gd name="T9" fmla="*/ 13 h 15"/>
                <a:gd name="T10" fmla="*/ 6 w 16"/>
                <a:gd name="T11" fmla="*/ 13 h 15"/>
                <a:gd name="T12" fmla="*/ 8 w 16"/>
                <a:gd name="T13" fmla="*/ 14 h 15"/>
                <a:gd name="T14" fmla="*/ 10 w 16"/>
                <a:gd name="T15" fmla="*/ 15 h 15"/>
                <a:gd name="T16" fmla="*/ 11 w 16"/>
                <a:gd name="T17" fmla="*/ 15 h 15"/>
                <a:gd name="T18" fmla="*/ 13 w 16"/>
                <a:gd name="T19" fmla="*/ 14 h 15"/>
                <a:gd name="T20" fmla="*/ 13 w 16"/>
                <a:gd name="T21" fmla="*/ 14 h 15"/>
                <a:gd name="T22" fmla="*/ 13 w 16"/>
                <a:gd name="T23" fmla="*/ 14 h 15"/>
                <a:gd name="T24" fmla="*/ 16 w 16"/>
                <a:gd name="T25" fmla="*/ 9 h 15"/>
                <a:gd name="T26" fmla="*/ 16 w 16"/>
                <a:gd name="T27" fmla="*/ 9 h 15"/>
                <a:gd name="T28" fmla="*/ 16 w 16"/>
                <a:gd name="T29" fmla="*/ 9 h 15"/>
                <a:gd name="T30" fmla="*/ 16 w 16"/>
                <a:gd name="T31" fmla="*/ 9 h 15"/>
                <a:gd name="T32" fmla="*/ 0 w 16"/>
                <a:gd name="T3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1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1" y="7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8" y="14"/>
                  </a:cubicBezTo>
                  <a:cubicBezTo>
                    <a:pt x="9" y="14"/>
                    <a:pt x="9" y="14"/>
                    <a:pt x="10" y="15"/>
                  </a:cubicBezTo>
                  <a:cubicBezTo>
                    <a:pt x="10" y="15"/>
                    <a:pt x="10" y="15"/>
                    <a:pt x="11" y="15"/>
                  </a:cubicBezTo>
                  <a:cubicBezTo>
                    <a:pt x="11" y="15"/>
                    <a:pt x="12" y="15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5" y="13"/>
                    <a:pt x="16" y="11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4" y="9"/>
                    <a:pt x="0" y="0"/>
                  </a:cubicBezTo>
                </a:path>
              </a:pathLst>
            </a:custGeom>
            <a:solidFill>
              <a:srgbClr val="8D53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8" name="任意多边形 177">
              <a:extLst>
                <a:ext uri="{FF2B5EF4-FFF2-40B4-BE49-F238E27FC236}">
                  <a16:creationId xmlns:a16="http://schemas.microsoft.com/office/drawing/2014/main" id="{CD1B4A89-1724-4059-9B15-7F4871D6433D}"/>
                </a:ext>
              </a:extLst>
            </p:cNvPr>
            <p:cNvSpPr/>
            <p:nvPr/>
          </p:nvSpPr>
          <p:spPr bwMode="auto">
            <a:xfrm>
              <a:off x="7453314" y="4221163"/>
              <a:ext cx="3175" cy="28575"/>
            </a:xfrm>
            <a:custGeom>
              <a:avLst/>
              <a:gdLst>
                <a:gd name="T0" fmla="*/ 0 w 1"/>
                <a:gd name="T1" fmla="*/ 0 h 11"/>
                <a:gd name="T2" fmla="*/ 1 w 1"/>
                <a:gd name="T3" fmla="*/ 11 h 11"/>
                <a:gd name="T4" fmla="*/ 1 w 1"/>
                <a:gd name="T5" fmla="*/ 8 h 11"/>
                <a:gd name="T6" fmla="*/ 0 w 1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1">
                  <a:moveTo>
                    <a:pt x="0" y="0"/>
                  </a:moveTo>
                  <a:cubicBezTo>
                    <a:pt x="0" y="4"/>
                    <a:pt x="1" y="7"/>
                    <a:pt x="1" y="11"/>
                  </a:cubicBezTo>
                  <a:cubicBezTo>
                    <a:pt x="1" y="10"/>
                    <a:pt x="1" y="9"/>
                    <a:pt x="1" y="8"/>
                  </a:cubicBezTo>
                  <a:cubicBezTo>
                    <a:pt x="1" y="5"/>
                    <a:pt x="0" y="3"/>
                    <a:pt x="0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9" name="任意多边形 178">
              <a:extLst>
                <a:ext uri="{FF2B5EF4-FFF2-40B4-BE49-F238E27FC236}">
                  <a16:creationId xmlns:a16="http://schemas.microsoft.com/office/drawing/2014/main" id="{DA8334B3-99D0-4400-86D1-64DBCD0AB476}"/>
                </a:ext>
              </a:extLst>
            </p:cNvPr>
            <p:cNvSpPr/>
            <p:nvPr/>
          </p:nvSpPr>
          <p:spPr bwMode="auto">
            <a:xfrm>
              <a:off x="7259639" y="3929063"/>
              <a:ext cx="238125" cy="808038"/>
            </a:xfrm>
            <a:custGeom>
              <a:avLst/>
              <a:gdLst>
                <a:gd name="T0" fmla="*/ 63 w 91"/>
                <a:gd name="T1" fmla="*/ 0 h 310"/>
                <a:gd name="T2" fmla="*/ 59 w 91"/>
                <a:gd name="T3" fmla="*/ 6 h 310"/>
                <a:gd name="T4" fmla="*/ 20 w 91"/>
                <a:gd name="T5" fmla="*/ 33 h 310"/>
                <a:gd name="T6" fmla="*/ 9 w 91"/>
                <a:gd name="T7" fmla="*/ 37 h 310"/>
                <a:gd name="T8" fmla="*/ 7 w 91"/>
                <a:gd name="T9" fmla="*/ 37 h 310"/>
                <a:gd name="T10" fmla="*/ 6 w 91"/>
                <a:gd name="T11" fmla="*/ 37 h 310"/>
                <a:gd name="T12" fmla="*/ 6 w 91"/>
                <a:gd name="T13" fmla="*/ 37 h 310"/>
                <a:gd name="T14" fmla="*/ 3 w 91"/>
                <a:gd name="T15" fmla="*/ 36 h 310"/>
                <a:gd name="T16" fmla="*/ 0 w 91"/>
                <a:gd name="T17" fmla="*/ 35 h 310"/>
                <a:gd name="T18" fmla="*/ 0 w 91"/>
                <a:gd name="T19" fmla="*/ 35 h 310"/>
                <a:gd name="T20" fmla="*/ 3 w 91"/>
                <a:gd name="T21" fmla="*/ 39 h 310"/>
                <a:gd name="T22" fmla="*/ 3 w 91"/>
                <a:gd name="T23" fmla="*/ 59 h 310"/>
                <a:gd name="T24" fmla="*/ 28 w 91"/>
                <a:gd name="T25" fmla="*/ 308 h 310"/>
                <a:gd name="T26" fmla="*/ 37 w 91"/>
                <a:gd name="T27" fmla="*/ 310 h 310"/>
                <a:gd name="T28" fmla="*/ 48 w 91"/>
                <a:gd name="T29" fmla="*/ 307 h 310"/>
                <a:gd name="T30" fmla="*/ 87 w 91"/>
                <a:gd name="T31" fmla="*/ 279 h 310"/>
                <a:gd name="T32" fmla="*/ 91 w 91"/>
                <a:gd name="T33" fmla="*/ 272 h 310"/>
                <a:gd name="T34" fmla="*/ 89 w 91"/>
                <a:gd name="T35" fmla="*/ 257 h 310"/>
                <a:gd name="T36" fmla="*/ 89 w 91"/>
                <a:gd name="T37" fmla="*/ 257 h 310"/>
                <a:gd name="T38" fmla="*/ 89 w 91"/>
                <a:gd name="T39" fmla="*/ 254 h 310"/>
                <a:gd name="T40" fmla="*/ 77 w 91"/>
                <a:gd name="T41" fmla="*/ 137 h 310"/>
                <a:gd name="T42" fmla="*/ 76 w 91"/>
                <a:gd name="T43" fmla="*/ 133 h 310"/>
                <a:gd name="T44" fmla="*/ 75 w 91"/>
                <a:gd name="T45" fmla="*/ 123 h 310"/>
                <a:gd name="T46" fmla="*/ 74 w 91"/>
                <a:gd name="T47" fmla="*/ 112 h 310"/>
                <a:gd name="T48" fmla="*/ 65 w 91"/>
                <a:gd name="T49" fmla="*/ 24 h 310"/>
                <a:gd name="T50" fmla="*/ 63 w 91"/>
                <a:gd name="T51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1" h="310">
                  <a:moveTo>
                    <a:pt x="63" y="0"/>
                  </a:moveTo>
                  <a:cubicBezTo>
                    <a:pt x="62" y="2"/>
                    <a:pt x="61" y="4"/>
                    <a:pt x="59" y="6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7" y="36"/>
                    <a:pt x="13" y="37"/>
                    <a:pt x="9" y="37"/>
                  </a:cubicBezTo>
                  <a:cubicBezTo>
                    <a:pt x="8" y="37"/>
                    <a:pt x="8" y="37"/>
                    <a:pt x="7" y="37"/>
                  </a:cubicBezTo>
                  <a:cubicBezTo>
                    <a:pt x="7" y="37"/>
                    <a:pt x="7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7"/>
                    <a:pt x="5" y="37"/>
                    <a:pt x="3" y="36"/>
                  </a:cubicBezTo>
                  <a:cubicBezTo>
                    <a:pt x="2" y="36"/>
                    <a:pt x="1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2" y="36"/>
                    <a:pt x="3" y="37"/>
                    <a:pt x="3" y="39"/>
                  </a:cubicBezTo>
                  <a:cubicBezTo>
                    <a:pt x="3" y="46"/>
                    <a:pt x="3" y="53"/>
                    <a:pt x="3" y="59"/>
                  </a:cubicBezTo>
                  <a:cubicBezTo>
                    <a:pt x="28" y="308"/>
                    <a:pt x="28" y="308"/>
                    <a:pt x="28" y="308"/>
                  </a:cubicBezTo>
                  <a:cubicBezTo>
                    <a:pt x="31" y="309"/>
                    <a:pt x="34" y="310"/>
                    <a:pt x="37" y="310"/>
                  </a:cubicBezTo>
                  <a:cubicBezTo>
                    <a:pt x="41" y="310"/>
                    <a:pt x="45" y="309"/>
                    <a:pt x="48" y="307"/>
                  </a:cubicBezTo>
                  <a:cubicBezTo>
                    <a:pt x="87" y="279"/>
                    <a:pt x="87" y="279"/>
                    <a:pt x="87" y="279"/>
                  </a:cubicBezTo>
                  <a:cubicBezTo>
                    <a:pt x="90" y="277"/>
                    <a:pt x="91" y="274"/>
                    <a:pt x="91" y="272"/>
                  </a:cubicBezTo>
                  <a:cubicBezTo>
                    <a:pt x="90" y="267"/>
                    <a:pt x="89" y="262"/>
                    <a:pt x="89" y="257"/>
                  </a:cubicBezTo>
                  <a:cubicBezTo>
                    <a:pt x="89" y="257"/>
                    <a:pt x="89" y="257"/>
                    <a:pt x="89" y="257"/>
                  </a:cubicBezTo>
                  <a:cubicBezTo>
                    <a:pt x="89" y="256"/>
                    <a:pt x="89" y="255"/>
                    <a:pt x="89" y="254"/>
                  </a:cubicBezTo>
                  <a:cubicBezTo>
                    <a:pt x="84" y="211"/>
                    <a:pt x="80" y="171"/>
                    <a:pt x="77" y="137"/>
                  </a:cubicBezTo>
                  <a:cubicBezTo>
                    <a:pt x="76" y="136"/>
                    <a:pt x="76" y="135"/>
                    <a:pt x="76" y="133"/>
                  </a:cubicBezTo>
                  <a:cubicBezTo>
                    <a:pt x="76" y="130"/>
                    <a:pt x="75" y="126"/>
                    <a:pt x="75" y="123"/>
                  </a:cubicBezTo>
                  <a:cubicBezTo>
                    <a:pt x="75" y="119"/>
                    <a:pt x="74" y="116"/>
                    <a:pt x="74" y="112"/>
                  </a:cubicBezTo>
                  <a:cubicBezTo>
                    <a:pt x="71" y="83"/>
                    <a:pt x="68" y="54"/>
                    <a:pt x="65" y="24"/>
                  </a:cubicBezTo>
                  <a:cubicBezTo>
                    <a:pt x="64" y="17"/>
                    <a:pt x="63" y="8"/>
                    <a:pt x="63" y="0"/>
                  </a:cubicBezTo>
                </a:path>
              </a:pathLst>
            </a:custGeom>
            <a:solidFill>
              <a:srgbClr val="966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0" name="任意多边形 179">
              <a:extLst>
                <a:ext uri="{FF2B5EF4-FFF2-40B4-BE49-F238E27FC236}">
                  <a16:creationId xmlns:a16="http://schemas.microsoft.com/office/drawing/2014/main" id="{88D04FE7-0387-4BD0-9F4E-A36E913E2F91}"/>
                </a:ext>
              </a:extLst>
            </p:cNvPr>
            <p:cNvSpPr/>
            <p:nvPr/>
          </p:nvSpPr>
          <p:spPr bwMode="auto">
            <a:xfrm>
              <a:off x="7267576" y="4083051"/>
              <a:ext cx="65088" cy="649288"/>
            </a:xfrm>
            <a:custGeom>
              <a:avLst/>
              <a:gdLst>
                <a:gd name="T0" fmla="*/ 0 w 25"/>
                <a:gd name="T1" fmla="*/ 0 h 249"/>
                <a:gd name="T2" fmla="*/ 0 w 25"/>
                <a:gd name="T3" fmla="*/ 234 h 249"/>
                <a:gd name="T4" fmla="*/ 25 w 25"/>
                <a:gd name="T5" fmla="*/ 249 h 249"/>
                <a:gd name="T6" fmla="*/ 0 w 25"/>
                <a:gd name="T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49">
                  <a:moveTo>
                    <a:pt x="0" y="0"/>
                  </a:moveTo>
                  <a:cubicBezTo>
                    <a:pt x="0" y="68"/>
                    <a:pt x="0" y="122"/>
                    <a:pt x="0" y="234"/>
                  </a:cubicBezTo>
                  <a:cubicBezTo>
                    <a:pt x="25" y="249"/>
                    <a:pt x="25" y="249"/>
                    <a:pt x="25" y="249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66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1" name="任意多边形 180">
              <a:extLst>
                <a:ext uri="{FF2B5EF4-FFF2-40B4-BE49-F238E27FC236}">
                  <a16:creationId xmlns:a16="http://schemas.microsoft.com/office/drawing/2014/main" id="{8D56D2F9-2E4A-4E23-A88F-E40AC17664F7}"/>
                </a:ext>
              </a:extLst>
            </p:cNvPr>
            <p:cNvSpPr/>
            <p:nvPr/>
          </p:nvSpPr>
          <p:spPr bwMode="auto">
            <a:xfrm>
              <a:off x="7107239" y="4030663"/>
              <a:ext cx="160338" cy="839788"/>
            </a:xfrm>
            <a:custGeom>
              <a:avLst/>
              <a:gdLst>
                <a:gd name="T0" fmla="*/ 62 w 62"/>
                <a:gd name="T1" fmla="*/ 0 h 322"/>
                <a:gd name="T2" fmla="*/ 61 w 62"/>
                <a:gd name="T3" fmla="*/ 4 h 322"/>
                <a:gd name="T4" fmla="*/ 19 w 62"/>
                <a:gd name="T5" fmla="*/ 28 h 322"/>
                <a:gd name="T6" fmla="*/ 9 w 62"/>
                <a:gd name="T7" fmla="*/ 31 h 322"/>
                <a:gd name="T8" fmla="*/ 9 w 62"/>
                <a:gd name="T9" fmla="*/ 31 h 322"/>
                <a:gd name="T10" fmla="*/ 9 w 62"/>
                <a:gd name="T11" fmla="*/ 31 h 322"/>
                <a:gd name="T12" fmla="*/ 9 w 62"/>
                <a:gd name="T13" fmla="*/ 31 h 322"/>
                <a:gd name="T14" fmla="*/ 0 w 62"/>
                <a:gd name="T15" fmla="*/ 28 h 322"/>
                <a:gd name="T16" fmla="*/ 2 w 62"/>
                <a:gd name="T17" fmla="*/ 31 h 322"/>
                <a:gd name="T18" fmla="*/ 4 w 62"/>
                <a:gd name="T19" fmla="*/ 34 h 322"/>
                <a:gd name="T20" fmla="*/ 4 w 62"/>
                <a:gd name="T21" fmla="*/ 34 h 322"/>
                <a:gd name="T22" fmla="*/ 4 w 62"/>
                <a:gd name="T23" fmla="*/ 321 h 322"/>
                <a:gd name="T24" fmla="*/ 9 w 62"/>
                <a:gd name="T25" fmla="*/ 322 h 322"/>
                <a:gd name="T26" fmla="*/ 19 w 62"/>
                <a:gd name="T27" fmla="*/ 320 h 322"/>
                <a:gd name="T28" fmla="*/ 58 w 62"/>
                <a:gd name="T29" fmla="*/ 297 h 322"/>
                <a:gd name="T30" fmla="*/ 62 w 62"/>
                <a:gd name="T31" fmla="*/ 292 h 322"/>
                <a:gd name="T32" fmla="*/ 62 w 62"/>
                <a:gd name="T33" fmla="*/ 254 h 322"/>
                <a:gd name="T34" fmla="*/ 62 w 62"/>
                <a:gd name="T35" fmla="*/ 20 h 322"/>
                <a:gd name="T36" fmla="*/ 62 w 62"/>
                <a:gd name="T37" fmla="*/ 0 h 322"/>
                <a:gd name="T38" fmla="*/ 62 w 62"/>
                <a:gd name="T39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2" h="322">
                  <a:moveTo>
                    <a:pt x="62" y="0"/>
                  </a:moveTo>
                  <a:cubicBezTo>
                    <a:pt x="62" y="1"/>
                    <a:pt x="61" y="3"/>
                    <a:pt x="61" y="4"/>
                  </a:cubicBezTo>
                  <a:cubicBezTo>
                    <a:pt x="59" y="5"/>
                    <a:pt x="61" y="4"/>
                    <a:pt x="19" y="28"/>
                  </a:cubicBezTo>
                  <a:cubicBezTo>
                    <a:pt x="16" y="30"/>
                    <a:pt x="13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6" y="31"/>
                    <a:pt x="2" y="30"/>
                    <a:pt x="0" y="28"/>
                  </a:cubicBezTo>
                  <a:cubicBezTo>
                    <a:pt x="1" y="29"/>
                    <a:pt x="2" y="30"/>
                    <a:pt x="2" y="31"/>
                  </a:cubicBezTo>
                  <a:cubicBezTo>
                    <a:pt x="3" y="32"/>
                    <a:pt x="4" y="33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118"/>
                    <a:pt x="4" y="217"/>
                    <a:pt x="4" y="321"/>
                  </a:cubicBezTo>
                  <a:cubicBezTo>
                    <a:pt x="5" y="322"/>
                    <a:pt x="7" y="322"/>
                    <a:pt x="9" y="322"/>
                  </a:cubicBezTo>
                  <a:cubicBezTo>
                    <a:pt x="13" y="322"/>
                    <a:pt x="16" y="321"/>
                    <a:pt x="19" y="320"/>
                  </a:cubicBezTo>
                  <a:cubicBezTo>
                    <a:pt x="58" y="297"/>
                    <a:pt x="58" y="297"/>
                    <a:pt x="58" y="297"/>
                  </a:cubicBezTo>
                  <a:cubicBezTo>
                    <a:pt x="61" y="295"/>
                    <a:pt x="62" y="293"/>
                    <a:pt x="62" y="292"/>
                  </a:cubicBezTo>
                  <a:cubicBezTo>
                    <a:pt x="62" y="278"/>
                    <a:pt x="62" y="266"/>
                    <a:pt x="62" y="254"/>
                  </a:cubicBezTo>
                  <a:cubicBezTo>
                    <a:pt x="62" y="142"/>
                    <a:pt x="62" y="88"/>
                    <a:pt x="62" y="20"/>
                  </a:cubicBezTo>
                  <a:cubicBezTo>
                    <a:pt x="62" y="14"/>
                    <a:pt x="62" y="7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455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2" name="任意多边形 181">
              <a:extLst>
                <a:ext uri="{FF2B5EF4-FFF2-40B4-BE49-F238E27FC236}">
                  <a16:creationId xmlns:a16="http://schemas.microsoft.com/office/drawing/2014/main" id="{468812C1-A12B-457E-8FAF-32FC4B544BC2}"/>
                </a:ext>
              </a:extLst>
            </p:cNvPr>
            <p:cNvSpPr/>
            <p:nvPr/>
          </p:nvSpPr>
          <p:spPr bwMode="auto">
            <a:xfrm>
              <a:off x="6973889" y="4119563"/>
              <a:ext cx="142875" cy="839788"/>
            </a:xfrm>
            <a:custGeom>
              <a:avLst/>
              <a:gdLst>
                <a:gd name="T0" fmla="*/ 55 w 55"/>
                <a:gd name="T1" fmla="*/ 0 h 322"/>
                <a:gd name="T2" fmla="*/ 55 w 55"/>
                <a:gd name="T3" fmla="*/ 0 h 322"/>
                <a:gd name="T4" fmla="*/ 51 w 55"/>
                <a:gd name="T5" fmla="*/ 6 h 322"/>
                <a:gd name="T6" fmla="*/ 50 w 55"/>
                <a:gd name="T7" fmla="*/ 6 h 322"/>
                <a:gd name="T8" fmla="*/ 50 w 55"/>
                <a:gd name="T9" fmla="*/ 6 h 322"/>
                <a:gd name="T10" fmla="*/ 12 w 55"/>
                <a:gd name="T11" fmla="*/ 28 h 322"/>
                <a:gd name="T12" fmla="*/ 2 w 55"/>
                <a:gd name="T13" fmla="*/ 30 h 322"/>
                <a:gd name="T14" fmla="*/ 2 w 55"/>
                <a:gd name="T15" fmla="*/ 30 h 322"/>
                <a:gd name="T16" fmla="*/ 0 w 55"/>
                <a:gd name="T17" fmla="*/ 31 h 322"/>
                <a:gd name="T18" fmla="*/ 0 w 55"/>
                <a:gd name="T19" fmla="*/ 322 h 322"/>
                <a:gd name="T20" fmla="*/ 2 w 55"/>
                <a:gd name="T21" fmla="*/ 322 h 322"/>
                <a:gd name="T22" fmla="*/ 12 w 55"/>
                <a:gd name="T23" fmla="*/ 319 h 322"/>
                <a:gd name="T24" fmla="*/ 51 w 55"/>
                <a:gd name="T25" fmla="*/ 297 h 322"/>
                <a:gd name="T26" fmla="*/ 55 w 55"/>
                <a:gd name="T27" fmla="*/ 291 h 322"/>
                <a:gd name="T28" fmla="*/ 55 w 55"/>
                <a:gd name="T29" fmla="*/ 287 h 322"/>
                <a:gd name="T30" fmla="*/ 55 w 55"/>
                <a:gd name="T31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322">
                  <a:moveTo>
                    <a:pt x="55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55" y="2"/>
                    <a:pt x="53" y="4"/>
                    <a:pt x="51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9" y="30"/>
                    <a:pt x="5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" y="31"/>
                    <a:pt x="0" y="31"/>
                    <a:pt x="0" y="31"/>
                  </a:cubicBezTo>
                  <a:cubicBezTo>
                    <a:pt x="0" y="128"/>
                    <a:pt x="0" y="224"/>
                    <a:pt x="0" y="322"/>
                  </a:cubicBezTo>
                  <a:cubicBezTo>
                    <a:pt x="0" y="322"/>
                    <a:pt x="1" y="322"/>
                    <a:pt x="2" y="322"/>
                  </a:cubicBezTo>
                  <a:cubicBezTo>
                    <a:pt x="5" y="322"/>
                    <a:pt x="9" y="321"/>
                    <a:pt x="12" y="319"/>
                  </a:cubicBezTo>
                  <a:cubicBezTo>
                    <a:pt x="51" y="297"/>
                    <a:pt x="51" y="297"/>
                    <a:pt x="51" y="297"/>
                  </a:cubicBezTo>
                  <a:cubicBezTo>
                    <a:pt x="54" y="295"/>
                    <a:pt x="55" y="293"/>
                    <a:pt x="55" y="291"/>
                  </a:cubicBezTo>
                  <a:cubicBezTo>
                    <a:pt x="55" y="290"/>
                    <a:pt x="55" y="289"/>
                    <a:pt x="55" y="287"/>
                  </a:cubicBezTo>
                  <a:cubicBezTo>
                    <a:pt x="55" y="183"/>
                    <a:pt x="55" y="84"/>
                    <a:pt x="55" y="0"/>
                  </a:cubicBezTo>
                </a:path>
              </a:pathLst>
            </a:custGeom>
            <a:solidFill>
              <a:srgbClr val="3E5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3" name="任意多边形 182">
              <a:extLst>
                <a:ext uri="{FF2B5EF4-FFF2-40B4-BE49-F238E27FC236}">
                  <a16:creationId xmlns:a16="http://schemas.microsoft.com/office/drawing/2014/main" id="{82B02959-FCA0-4CF2-983E-1400B7DC7944}"/>
                </a:ext>
              </a:extLst>
            </p:cNvPr>
            <p:cNvSpPr/>
            <p:nvPr/>
          </p:nvSpPr>
          <p:spPr bwMode="auto">
            <a:xfrm>
              <a:off x="6778626" y="3633788"/>
              <a:ext cx="649288" cy="401638"/>
            </a:xfrm>
            <a:custGeom>
              <a:avLst/>
              <a:gdLst>
                <a:gd name="T0" fmla="*/ 225 w 249"/>
                <a:gd name="T1" fmla="*/ 108 h 154"/>
                <a:gd name="T2" fmla="*/ 49 w 249"/>
                <a:gd name="T3" fmla="*/ 6 h 154"/>
                <a:gd name="T4" fmla="*/ 59 w 249"/>
                <a:gd name="T5" fmla="*/ 0 h 154"/>
                <a:gd name="T6" fmla="*/ 244 w 249"/>
                <a:gd name="T7" fmla="*/ 107 h 154"/>
                <a:gd name="T8" fmla="*/ 244 w 249"/>
                <a:gd name="T9" fmla="*/ 119 h 154"/>
                <a:gd name="T10" fmla="*/ 205 w 249"/>
                <a:gd name="T11" fmla="*/ 146 h 154"/>
                <a:gd name="T12" fmla="*/ 185 w 249"/>
                <a:gd name="T13" fmla="*/ 148 h 154"/>
                <a:gd name="T14" fmla="*/ 185 w 249"/>
                <a:gd name="T15" fmla="*/ 148 h 154"/>
                <a:gd name="T16" fmla="*/ 0 w 249"/>
                <a:gd name="T17" fmla="*/ 41 h 154"/>
                <a:gd name="T18" fmla="*/ 9 w 249"/>
                <a:gd name="T19" fmla="*/ 34 h 154"/>
                <a:gd name="T20" fmla="*/ 185 w 249"/>
                <a:gd name="T21" fmla="*/ 136 h 154"/>
                <a:gd name="T22" fmla="*/ 205 w 249"/>
                <a:gd name="T23" fmla="*/ 135 h 154"/>
                <a:gd name="T24" fmla="*/ 225 w 249"/>
                <a:gd name="T25" fmla="*/ 120 h 154"/>
                <a:gd name="T26" fmla="*/ 225 w 249"/>
                <a:gd name="T27" fmla="*/ 10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9" h="154">
                  <a:moveTo>
                    <a:pt x="225" y="108"/>
                  </a:moveTo>
                  <a:cubicBezTo>
                    <a:pt x="49" y="6"/>
                    <a:pt x="49" y="6"/>
                    <a:pt x="49" y="6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244" y="107"/>
                    <a:pt x="244" y="107"/>
                    <a:pt x="244" y="107"/>
                  </a:cubicBezTo>
                  <a:cubicBezTo>
                    <a:pt x="249" y="109"/>
                    <a:pt x="249" y="115"/>
                    <a:pt x="244" y="119"/>
                  </a:cubicBezTo>
                  <a:cubicBezTo>
                    <a:pt x="205" y="146"/>
                    <a:pt x="205" y="146"/>
                    <a:pt x="205" y="146"/>
                  </a:cubicBezTo>
                  <a:cubicBezTo>
                    <a:pt x="199" y="150"/>
                    <a:pt x="191" y="151"/>
                    <a:pt x="185" y="148"/>
                  </a:cubicBezTo>
                  <a:cubicBezTo>
                    <a:pt x="185" y="148"/>
                    <a:pt x="185" y="148"/>
                    <a:pt x="185" y="148"/>
                  </a:cubicBezTo>
                  <a:cubicBezTo>
                    <a:pt x="184" y="147"/>
                    <a:pt x="197" y="154"/>
                    <a:pt x="0" y="41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28" y="45"/>
                    <a:pt x="1" y="30"/>
                    <a:pt x="185" y="136"/>
                  </a:cubicBezTo>
                  <a:cubicBezTo>
                    <a:pt x="191" y="139"/>
                    <a:pt x="199" y="139"/>
                    <a:pt x="205" y="135"/>
                  </a:cubicBezTo>
                  <a:cubicBezTo>
                    <a:pt x="225" y="120"/>
                    <a:pt x="225" y="120"/>
                    <a:pt x="225" y="120"/>
                  </a:cubicBezTo>
                  <a:cubicBezTo>
                    <a:pt x="231" y="116"/>
                    <a:pt x="230" y="111"/>
                    <a:pt x="225" y="108"/>
                  </a:cubicBezTo>
                  <a:close/>
                </a:path>
              </a:pathLst>
            </a:custGeom>
            <a:solidFill>
              <a:srgbClr val="EBD8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4" name="任意多边形 183">
              <a:extLst>
                <a:ext uri="{FF2B5EF4-FFF2-40B4-BE49-F238E27FC236}">
                  <a16:creationId xmlns:a16="http://schemas.microsoft.com/office/drawing/2014/main" id="{66E70A38-120A-4AC3-B517-71F0201F7B9E}"/>
                </a:ext>
              </a:extLst>
            </p:cNvPr>
            <p:cNvSpPr/>
            <p:nvPr/>
          </p:nvSpPr>
          <p:spPr bwMode="auto">
            <a:xfrm>
              <a:off x="6443664" y="3827463"/>
              <a:ext cx="693738" cy="371475"/>
            </a:xfrm>
            <a:custGeom>
              <a:avLst/>
              <a:gdLst>
                <a:gd name="T0" fmla="*/ 239 w 266"/>
                <a:gd name="T1" fmla="*/ 112 h 143"/>
                <a:gd name="T2" fmla="*/ 235 w 266"/>
                <a:gd name="T3" fmla="*/ 106 h 143"/>
                <a:gd name="T4" fmla="*/ 59 w 266"/>
                <a:gd name="T5" fmla="*/ 5 h 143"/>
                <a:gd name="T6" fmla="*/ 68 w 266"/>
                <a:gd name="T7" fmla="*/ 0 h 143"/>
                <a:gd name="T8" fmla="*/ 256 w 266"/>
                <a:gd name="T9" fmla="*/ 109 h 143"/>
                <a:gd name="T10" fmla="*/ 254 w 266"/>
                <a:gd name="T11" fmla="*/ 118 h 143"/>
                <a:gd name="T12" fmla="*/ 215 w 266"/>
                <a:gd name="T13" fmla="*/ 140 h 143"/>
                <a:gd name="T14" fmla="*/ 195 w 266"/>
                <a:gd name="T15" fmla="*/ 140 h 143"/>
                <a:gd name="T16" fmla="*/ 10 w 266"/>
                <a:gd name="T17" fmla="*/ 33 h 143"/>
                <a:gd name="T18" fmla="*/ 19 w 266"/>
                <a:gd name="T19" fmla="*/ 28 h 143"/>
                <a:gd name="T20" fmla="*/ 195 w 266"/>
                <a:gd name="T21" fmla="*/ 130 h 143"/>
                <a:gd name="T22" fmla="*/ 215 w 266"/>
                <a:gd name="T23" fmla="*/ 130 h 143"/>
                <a:gd name="T24" fmla="*/ 238 w 266"/>
                <a:gd name="T25" fmla="*/ 115 h 143"/>
                <a:gd name="T26" fmla="*/ 239 w 266"/>
                <a:gd name="T27" fmla="*/ 11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43">
                  <a:moveTo>
                    <a:pt x="239" y="112"/>
                  </a:moveTo>
                  <a:cubicBezTo>
                    <a:pt x="239" y="110"/>
                    <a:pt x="237" y="108"/>
                    <a:pt x="235" y="106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266" y="114"/>
                    <a:pt x="255" y="107"/>
                    <a:pt x="256" y="109"/>
                  </a:cubicBezTo>
                  <a:cubicBezTo>
                    <a:pt x="259" y="112"/>
                    <a:pt x="257" y="115"/>
                    <a:pt x="254" y="118"/>
                  </a:cubicBezTo>
                  <a:cubicBezTo>
                    <a:pt x="215" y="140"/>
                    <a:pt x="215" y="140"/>
                    <a:pt x="215" y="140"/>
                  </a:cubicBezTo>
                  <a:cubicBezTo>
                    <a:pt x="209" y="143"/>
                    <a:pt x="201" y="143"/>
                    <a:pt x="195" y="140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35" y="37"/>
                    <a:pt x="0" y="17"/>
                    <a:pt x="195" y="130"/>
                  </a:cubicBezTo>
                  <a:cubicBezTo>
                    <a:pt x="201" y="133"/>
                    <a:pt x="209" y="133"/>
                    <a:pt x="215" y="130"/>
                  </a:cubicBezTo>
                  <a:cubicBezTo>
                    <a:pt x="236" y="117"/>
                    <a:pt x="237" y="117"/>
                    <a:pt x="238" y="115"/>
                  </a:cubicBezTo>
                  <a:cubicBezTo>
                    <a:pt x="239" y="114"/>
                    <a:pt x="239" y="113"/>
                    <a:pt x="239" y="112"/>
                  </a:cubicBezTo>
                  <a:close/>
                </a:path>
              </a:pathLst>
            </a:custGeom>
            <a:solidFill>
              <a:srgbClr val="82C2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5" name="任意多边形 184">
              <a:extLst>
                <a:ext uri="{FF2B5EF4-FFF2-40B4-BE49-F238E27FC236}">
                  <a16:creationId xmlns:a16="http://schemas.microsoft.com/office/drawing/2014/main" id="{AC9F0800-D648-4451-A896-4D99AC080098}"/>
                </a:ext>
              </a:extLst>
            </p:cNvPr>
            <p:cNvSpPr/>
            <p:nvPr/>
          </p:nvSpPr>
          <p:spPr bwMode="auto">
            <a:xfrm>
              <a:off x="6621464" y="3738563"/>
              <a:ext cx="646113" cy="374650"/>
            </a:xfrm>
            <a:custGeom>
              <a:avLst/>
              <a:gdLst>
                <a:gd name="T0" fmla="*/ 245 w 248"/>
                <a:gd name="T1" fmla="*/ 108 h 144"/>
                <a:gd name="T2" fmla="*/ 248 w 248"/>
                <a:gd name="T3" fmla="*/ 112 h 144"/>
                <a:gd name="T4" fmla="*/ 244 w 248"/>
                <a:gd name="T5" fmla="*/ 118 h 144"/>
                <a:gd name="T6" fmla="*/ 205 w 248"/>
                <a:gd name="T7" fmla="*/ 140 h 144"/>
                <a:gd name="T8" fmla="*/ 186 w 248"/>
                <a:gd name="T9" fmla="*/ 140 h 144"/>
                <a:gd name="T10" fmla="*/ 0 w 248"/>
                <a:gd name="T11" fmla="*/ 34 h 144"/>
                <a:gd name="T12" fmla="*/ 10 w 248"/>
                <a:gd name="T13" fmla="*/ 28 h 144"/>
                <a:gd name="T14" fmla="*/ 186 w 248"/>
                <a:gd name="T15" fmla="*/ 130 h 144"/>
                <a:gd name="T16" fmla="*/ 205 w 248"/>
                <a:gd name="T17" fmla="*/ 130 h 144"/>
                <a:gd name="T18" fmla="*/ 227 w 248"/>
                <a:gd name="T19" fmla="*/ 117 h 144"/>
                <a:gd name="T20" fmla="*/ 230 w 248"/>
                <a:gd name="T21" fmla="*/ 112 h 144"/>
                <a:gd name="T22" fmla="*/ 226 w 248"/>
                <a:gd name="T23" fmla="*/ 107 h 144"/>
                <a:gd name="T24" fmla="*/ 50 w 248"/>
                <a:gd name="T25" fmla="*/ 5 h 144"/>
                <a:gd name="T26" fmla="*/ 59 w 248"/>
                <a:gd name="T27" fmla="*/ 0 h 144"/>
                <a:gd name="T28" fmla="*/ 245 w 248"/>
                <a:gd name="T29" fmla="*/ 10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8" h="144">
                  <a:moveTo>
                    <a:pt x="245" y="108"/>
                  </a:moveTo>
                  <a:cubicBezTo>
                    <a:pt x="247" y="109"/>
                    <a:pt x="248" y="110"/>
                    <a:pt x="248" y="112"/>
                  </a:cubicBezTo>
                  <a:cubicBezTo>
                    <a:pt x="248" y="115"/>
                    <a:pt x="246" y="117"/>
                    <a:pt x="244" y="118"/>
                  </a:cubicBezTo>
                  <a:cubicBezTo>
                    <a:pt x="205" y="140"/>
                    <a:pt x="205" y="140"/>
                    <a:pt x="205" y="140"/>
                  </a:cubicBezTo>
                  <a:cubicBezTo>
                    <a:pt x="200" y="144"/>
                    <a:pt x="191" y="144"/>
                    <a:pt x="186" y="14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22" y="94"/>
                    <a:pt x="185" y="130"/>
                    <a:pt x="186" y="130"/>
                  </a:cubicBezTo>
                  <a:cubicBezTo>
                    <a:pt x="191" y="133"/>
                    <a:pt x="200" y="133"/>
                    <a:pt x="205" y="130"/>
                  </a:cubicBezTo>
                  <a:cubicBezTo>
                    <a:pt x="225" y="118"/>
                    <a:pt x="226" y="118"/>
                    <a:pt x="227" y="117"/>
                  </a:cubicBezTo>
                  <a:cubicBezTo>
                    <a:pt x="229" y="116"/>
                    <a:pt x="230" y="114"/>
                    <a:pt x="230" y="112"/>
                  </a:cubicBezTo>
                  <a:cubicBezTo>
                    <a:pt x="230" y="110"/>
                    <a:pt x="228" y="108"/>
                    <a:pt x="226" y="107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244" y="107"/>
                    <a:pt x="245" y="108"/>
                  </a:cubicBezTo>
                  <a:close/>
                </a:path>
              </a:pathLst>
            </a:custGeom>
            <a:solidFill>
              <a:srgbClr val="84BF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6" name="任意多边形 185">
              <a:extLst>
                <a:ext uri="{FF2B5EF4-FFF2-40B4-BE49-F238E27FC236}">
                  <a16:creationId xmlns:a16="http://schemas.microsoft.com/office/drawing/2014/main" id="{BD3FD107-E7EE-43F5-9EC8-19F9CD5B17FA}"/>
                </a:ext>
              </a:extLst>
            </p:cNvPr>
            <p:cNvSpPr/>
            <p:nvPr/>
          </p:nvSpPr>
          <p:spPr bwMode="auto">
            <a:xfrm>
              <a:off x="7618414" y="3900488"/>
              <a:ext cx="387350" cy="223838"/>
            </a:xfrm>
            <a:custGeom>
              <a:avLst/>
              <a:gdLst>
                <a:gd name="T0" fmla="*/ 5 w 149"/>
                <a:gd name="T1" fmla="*/ 16 h 86"/>
                <a:gd name="T2" fmla="*/ 121 w 149"/>
                <a:gd name="T3" fmla="*/ 83 h 86"/>
                <a:gd name="T4" fmla="*/ 139 w 149"/>
                <a:gd name="T5" fmla="*/ 83 h 86"/>
                <a:gd name="T6" fmla="*/ 144 w 149"/>
                <a:gd name="T7" fmla="*/ 80 h 86"/>
                <a:gd name="T8" fmla="*/ 144 w 149"/>
                <a:gd name="T9" fmla="*/ 70 h 86"/>
                <a:gd name="T10" fmla="*/ 28 w 149"/>
                <a:gd name="T11" fmla="*/ 2 h 86"/>
                <a:gd name="T12" fmla="*/ 11 w 149"/>
                <a:gd name="T13" fmla="*/ 2 h 86"/>
                <a:gd name="T14" fmla="*/ 5 w 149"/>
                <a:gd name="T15" fmla="*/ 6 h 86"/>
                <a:gd name="T16" fmla="*/ 5 w 149"/>
                <a:gd name="T17" fmla="*/ 1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86">
                  <a:moveTo>
                    <a:pt x="5" y="16"/>
                  </a:moveTo>
                  <a:cubicBezTo>
                    <a:pt x="121" y="83"/>
                    <a:pt x="121" y="83"/>
                    <a:pt x="121" y="83"/>
                  </a:cubicBezTo>
                  <a:cubicBezTo>
                    <a:pt x="126" y="86"/>
                    <a:pt x="134" y="86"/>
                    <a:pt x="139" y="83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9" y="77"/>
                    <a:pt x="149" y="72"/>
                    <a:pt x="144" y="70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3" y="0"/>
                    <a:pt x="16" y="0"/>
                    <a:pt x="11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0" y="8"/>
                    <a:pt x="0" y="13"/>
                    <a:pt x="5" y="16"/>
                  </a:cubicBezTo>
                  <a:close/>
                </a:path>
              </a:pathLst>
            </a:custGeom>
            <a:solidFill>
              <a:srgbClr val="9F3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7" name="任意多边形 186">
              <a:extLst>
                <a:ext uri="{FF2B5EF4-FFF2-40B4-BE49-F238E27FC236}">
                  <a16:creationId xmlns:a16="http://schemas.microsoft.com/office/drawing/2014/main" id="{7C66D109-BC46-4C24-9462-017E35ACF1B2}"/>
                </a:ext>
              </a:extLst>
            </p:cNvPr>
            <p:cNvSpPr/>
            <p:nvPr/>
          </p:nvSpPr>
          <p:spPr bwMode="auto">
            <a:xfrm>
              <a:off x="6537326" y="4129088"/>
              <a:ext cx="347663" cy="250825"/>
            </a:xfrm>
            <a:custGeom>
              <a:avLst/>
              <a:gdLst>
                <a:gd name="T0" fmla="*/ 125 w 133"/>
                <a:gd name="T1" fmla="*/ 70 h 96"/>
                <a:gd name="T2" fmla="*/ 8 w 133"/>
                <a:gd name="T3" fmla="*/ 3 h 96"/>
                <a:gd name="T4" fmla="*/ 0 w 133"/>
                <a:gd name="T5" fmla="*/ 6 h 96"/>
                <a:gd name="T6" fmla="*/ 0 w 133"/>
                <a:gd name="T7" fmla="*/ 12 h 96"/>
                <a:gd name="T8" fmla="*/ 8 w 133"/>
                <a:gd name="T9" fmla="*/ 26 h 96"/>
                <a:gd name="T10" fmla="*/ 125 w 133"/>
                <a:gd name="T11" fmla="*/ 93 h 96"/>
                <a:gd name="T12" fmla="*/ 133 w 133"/>
                <a:gd name="T13" fmla="*/ 89 h 96"/>
                <a:gd name="T14" fmla="*/ 133 w 133"/>
                <a:gd name="T15" fmla="*/ 83 h 96"/>
                <a:gd name="T16" fmla="*/ 125 w 133"/>
                <a:gd name="T17" fmla="*/ 7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96">
                  <a:moveTo>
                    <a:pt x="125" y="70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4" y="0"/>
                    <a:pt x="0" y="1"/>
                    <a:pt x="0" y="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7"/>
                    <a:pt x="4" y="23"/>
                    <a:pt x="8" y="26"/>
                  </a:cubicBezTo>
                  <a:cubicBezTo>
                    <a:pt x="125" y="93"/>
                    <a:pt x="125" y="93"/>
                    <a:pt x="125" y="93"/>
                  </a:cubicBezTo>
                  <a:cubicBezTo>
                    <a:pt x="130" y="96"/>
                    <a:pt x="133" y="94"/>
                    <a:pt x="133" y="89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3" y="79"/>
                    <a:pt x="130" y="72"/>
                    <a:pt x="125" y="70"/>
                  </a:cubicBezTo>
                  <a:close/>
                </a:path>
              </a:pathLst>
            </a:custGeom>
            <a:solidFill>
              <a:srgbClr val="4B7C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8" name="任意多边形 187">
              <a:extLst>
                <a:ext uri="{FF2B5EF4-FFF2-40B4-BE49-F238E27FC236}">
                  <a16:creationId xmlns:a16="http://schemas.microsoft.com/office/drawing/2014/main" id="{B530F4AD-3B0C-41B1-BEBC-7B6267A5E7D5}"/>
                </a:ext>
              </a:extLst>
            </p:cNvPr>
            <p:cNvSpPr/>
            <p:nvPr/>
          </p:nvSpPr>
          <p:spPr bwMode="auto">
            <a:xfrm>
              <a:off x="6537326" y="4233863"/>
              <a:ext cx="347663" cy="250825"/>
            </a:xfrm>
            <a:custGeom>
              <a:avLst/>
              <a:gdLst>
                <a:gd name="T0" fmla="*/ 125 w 133"/>
                <a:gd name="T1" fmla="*/ 70 h 96"/>
                <a:gd name="T2" fmla="*/ 8 w 133"/>
                <a:gd name="T3" fmla="*/ 3 h 96"/>
                <a:gd name="T4" fmla="*/ 0 w 133"/>
                <a:gd name="T5" fmla="*/ 7 h 96"/>
                <a:gd name="T6" fmla="*/ 0 w 133"/>
                <a:gd name="T7" fmla="*/ 13 h 96"/>
                <a:gd name="T8" fmla="*/ 8 w 133"/>
                <a:gd name="T9" fmla="*/ 26 h 96"/>
                <a:gd name="T10" fmla="*/ 125 w 133"/>
                <a:gd name="T11" fmla="*/ 93 h 96"/>
                <a:gd name="T12" fmla="*/ 133 w 133"/>
                <a:gd name="T13" fmla="*/ 90 h 96"/>
                <a:gd name="T14" fmla="*/ 133 w 133"/>
                <a:gd name="T15" fmla="*/ 84 h 96"/>
                <a:gd name="T16" fmla="*/ 125 w 133"/>
                <a:gd name="T17" fmla="*/ 7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96">
                  <a:moveTo>
                    <a:pt x="125" y="70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4" y="0"/>
                    <a:pt x="0" y="2"/>
                    <a:pt x="0" y="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7"/>
                    <a:pt x="4" y="23"/>
                    <a:pt x="8" y="26"/>
                  </a:cubicBezTo>
                  <a:cubicBezTo>
                    <a:pt x="125" y="93"/>
                    <a:pt x="125" y="93"/>
                    <a:pt x="125" y="93"/>
                  </a:cubicBezTo>
                  <a:cubicBezTo>
                    <a:pt x="130" y="96"/>
                    <a:pt x="133" y="95"/>
                    <a:pt x="133" y="90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3" y="79"/>
                    <a:pt x="130" y="73"/>
                    <a:pt x="125" y="70"/>
                  </a:cubicBezTo>
                  <a:close/>
                </a:path>
              </a:pathLst>
            </a:custGeom>
            <a:solidFill>
              <a:srgbClr val="4B7C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9" name="任意多边形 188">
              <a:extLst>
                <a:ext uri="{FF2B5EF4-FFF2-40B4-BE49-F238E27FC236}">
                  <a16:creationId xmlns:a16="http://schemas.microsoft.com/office/drawing/2014/main" id="{4C84379F-8661-4169-8D45-06913FE7CFB4}"/>
                </a:ext>
              </a:extLst>
            </p:cNvPr>
            <p:cNvSpPr/>
            <p:nvPr/>
          </p:nvSpPr>
          <p:spPr bwMode="auto">
            <a:xfrm>
              <a:off x="5278439" y="2295526"/>
              <a:ext cx="592138" cy="409575"/>
            </a:xfrm>
            <a:custGeom>
              <a:avLst/>
              <a:gdLst>
                <a:gd name="T0" fmla="*/ 227 w 227"/>
                <a:gd name="T1" fmla="*/ 0 h 157"/>
                <a:gd name="T2" fmla="*/ 227 w 227"/>
                <a:gd name="T3" fmla="*/ 26 h 157"/>
                <a:gd name="T4" fmla="*/ 0 w 227"/>
                <a:gd name="T5" fmla="*/ 157 h 157"/>
                <a:gd name="T6" fmla="*/ 0 w 227"/>
                <a:gd name="T7" fmla="*/ 131 h 157"/>
                <a:gd name="T8" fmla="*/ 227 w 227"/>
                <a:gd name="T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57">
                  <a:moveTo>
                    <a:pt x="227" y="0"/>
                  </a:moveTo>
                  <a:cubicBezTo>
                    <a:pt x="227" y="26"/>
                    <a:pt x="227" y="26"/>
                    <a:pt x="227" y="26"/>
                  </a:cubicBezTo>
                  <a:cubicBezTo>
                    <a:pt x="99" y="101"/>
                    <a:pt x="149" y="72"/>
                    <a:pt x="0" y="157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227" y="0"/>
                    <a:pt x="227" y="0"/>
                    <a:pt x="227" y="0"/>
                  </a:cubicBezTo>
                </a:path>
              </a:pathLst>
            </a:custGeom>
            <a:solidFill>
              <a:srgbClr val="785C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0" name="任意多边形 189">
              <a:extLst>
                <a:ext uri="{FF2B5EF4-FFF2-40B4-BE49-F238E27FC236}">
                  <a16:creationId xmlns:a16="http://schemas.microsoft.com/office/drawing/2014/main" id="{DDEB9E74-A6FF-48C5-AF60-9EEDB5B06E5F}"/>
                </a:ext>
              </a:extLst>
            </p:cNvPr>
            <p:cNvSpPr/>
            <p:nvPr/>
          </p:nvSpPr>
          <p:spPr bwMode="auto">
            <a:xfrm>
              <a:off x="4686301" y="1954213"/>
              <a:ext cx="1184275" cy="682625"/>
            </a:xfrm>
            <a:custGeom>
              <a:avLst/>
              <a:gdLst>
                <a:gd name="T0" fmla="*/ 454 w 454"/>
                <a:gd name="T1" fmla="*/ 131 h 262"/>
                <a:gd name="T2" fmla="*/ 227 w 454"/>
                <a:gd name="T3" fmla="*/ 262 h 262"/>
                <a:gd name="T4" fmla="*/ 119 w 454"/>
                <a:gd name="T5" fmla="*/ 199 h 262"/>
                <a:gd name="T6" fmla="*/ 126 w 454"/>
                <a:gd name="T7" fmla="*/ 193 h 262"/>
                <a:gd name="T8" fmla="*/ 224 w 454"/>
                <a:gd name="T9" fmla="*/ 136 h 262"/>
                <a:gd name="T10" fmla="*/ 228 w 454"/>
                <a:gd name="T11" fmla="*/ 131 h 262"/>
                <a:gd name="T12" fmla="*/ 222 w 454"/>
                <a:gd name="T13" fmla="*/ 121 h 262"/>
                <a:gd name="T14" fmla="*/ 215 w 454"/>
                <a:gd name="T15" fmla="*/ 121 h 262"/>
                <a:gd name="T16" fmla="*/ 117 w 454"/>
                <a:gd name="T17" fmla="*/ 177 h 262"/>
                <a:gd name="T18" fmla="*/ 104 w 454"/>
                <a:gd name="T19" fmla="*/ 191 h 262"/>
                <a:gd name="T20" fmla="*/ 0 w 454"/>
                <a:gd name="T21" fmla="*/ 131 h 262"/>
                <a:gd name="T22" fmla="*/ 227 w 454"/>
                <a:gd name="T23" fmla="*/ 0 h 262"/>
                <a:gd name="T24" fmla="*/ 454 w 454"/>
                <a:gd name="T25" fmla="*/ 13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4" h="262">
                  <a:moveTo>
                    <a:pt x="454" y="131"/>
                  </a:moveTo>
                  <a:cubicBezTo>
                    <a:pt x="227" y="262"/>
                    <a:pt x="227" y="262"/>
                    <a:pt x="227" y="262"/>
                  </a:cubicBezTo>
                  <a:cubicBezTo>
                    <a:pt x="119" y="199"/>
                    <a:pt x="119" y="199"/>
                    <a:pt x="119" y="199"/>
                  </a:cubicBezTo>
                  <a:cubicBezTo>
                    <a:pt x="121" y="197"/>
                    <a:pt x="123" y="194"/>
                    <a:pt x="126" y="193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225" y="135"/>
                    <a:pt x="227" y="133"/>
                    <a:pt x="228" y="131"/>
                  </a:cubicBezTo>
                  <a:cubicBezTo>
                    <a:pt x="229" y="127"/>
                    <a:pt x="227" y="122"/>
                    <a:pt x="222" y="121"/>
                  </a:cubicBezTo>
                  <a:cubicBezTo>
                    <a:pt x="220" y="119"/>
                    <a:pt x="216" y="120"/>
                    <a:pt x="215" y="121"/>
                  </a:cubicBezTo>
                  <a:cubicBezTo>
                    <a:pt x="111" y="181"/>
                    <a:pt x="117" y="177"/>
                    <a:pt x="117" y="177"/>
                  </a:cubicBezTo>
                  <a:cubicBezTo>
                    <a:pt x="111" y="181"/>
                    <a:pt x="107" y="185"/>
                    <a:pt x="104" y="191"/>
                  </a:cubicBezTo>
                  <a:cubicBezTo>
                    <a:pt x="103" y="190"/>
                    <a:pt x="111" y="195"/>
                    <a:pt x="0" y="131"/>
                  </a:cubicBezTo>
                  <a:cubicBezTo>
                    <a:pt x="227" y="0"/>
                    <a:pt x="227" y="0"/>
                    <a:pt x="227" y="0"/>
                  </a:cubicBezTo>
                  <a:lnTo>
                    <a:pt x="454" y="131"/>
                  </a:lnTo>
                  <a:close/>
                </a:path>
              </a:pathLst>
            </a:custGeom>
            <a:solidFill>
              <a:srgbClr val="BFB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1" name="任意多边形 190">
              <a:extLst>
                <a:ext uri="{FF2B5EF4-FFF2-40B4-BE49-F238E27FC236}">
                  <a16:creationId xmlns:a16="http://schemas.microsoft.com/office/drawing/2014/main" id="{32780E8B-6F83-4BF6-92D8-DEED372C829B}"/>
                </a:ext>
              </a:extLst>
            </p:cNvPr>
            <p:cNvSpPr/>
            <p:nvPr/>
          </p:nvSpPr>
          <p:spPr bwMode="auto">
            <a:xfrm>
              <a:off x="4983164" y="2522538"/>
              <a:ext cx="612775" cy="414338"/>
            </a:xfrm>
            <a:custGeom>
              <a:avLst/>
              <a:gdLst>
                <a:gd name="T0" fmla="*/ 235 w 235"/>
                <a:gd name="T1" fmla="*/ 77 h 159"/>
                <a:gd name="T2" fmla="*/ 231 w 235"/>
                <a:gd name="T3" fmla="*/ 96 h 159"/>
                <a:gd name="T4" fmla="*/ 231 w 235"/>
                <a:gd name="T5" fmla="*/ 96 h 159"/>
                <a:gd name="T6" fmla="*/ 214 w 235"/>
                <a:gd name="T7" fmla="*/ 118 h 159"/>
                <a:gd name="T8" fmla="*/ 10 w 235"/>
                <a:gd name="T9" fmla="*/ 116 h 159"/>
                <a:gd name="T10" fmla="*/ 10 w 235"/>
                <a:gd name="T11" fmla="*/ 113 h 159"/>
                <a:gd name="T12" fmla="*/ 4 w 235"/>
                <a:gd name="T13" fmla="*/ 78 h 159"/>
                <a:gd name="T14" fmla="*/ 0 w 235"/>
                <a:gd name="T15" fmla="*/ 72 h 159"/>
                <a:gd name="T16" fmla="*/ 0 w 235"/>
                <a:gd name="T17" fmla="*/ 5 h 159"/>
                <a:gd name="T18" fmla="*/ 113 w 235"/>
                <a:gd name="T19" fmla="*/ 70 h 159"/>
                <a:gd name="T20" fmla="*/ 235 w 235"/>
                <a:gd name="T21" fmla="*/ 0 h 159"/>
                <a:gd name="T22" fmla="*/ 235 w 235"/>
                <a:gd name="T23" fmla="*/ 78 h 159"/>
                <a:gd name="T24" fmla="*/ 235 w 235"/>
                <a:gd name="T25" fmla="*/ 7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5" h="159">
                  <a:moveTo>
                    <a:pt x="235" y="77"/>
                  </a:moveTo>
                  <a:cubicBezTo>
                    <a:pt x="235" y="83"/>
                    <a:pt x="234" y="90"/>
                    <a:pt x="231" y="96"/>
                  </a:cubicBezTo>
                  <a:cubicBezTo>
                    <a:pt x="231" y="96"/>
                    <a:pt x="231" y="96"/>
                    <a:pt x="231" y="96"/>
                  </a:cubicBezTo>
                  <a:cubicBezTo>
                    <a:pt x="228" y="102"/>
                    <a:pt x="223" y="110"/>
                    <a:pt x="214" y="118"/>
                  </a:cubicBezTo>
                  <a:cubicBezTo>
                    <a:pt x="166" y="159"/>
                    <a:pt x="57" y="159"/>
                    <a:pt x="10" y="116"/>
                  </a:cubicBezTo>
                  <a:cubicBezTo>
                    <a:pt x="10" y="114"/>
                    <a:pt x="10" y="113"/>
                    <a:pt x="10" y="113"/>
                  </a:cubicBezTo>
                  <a:cubicBezTo>
                    <a:pt x="7" y="95"/>
                    <a:pt x="4" y="79"/>
                    <a:pt x="4" y="78"/>
                  </a:cubicBezTo>
                  <a:cubicBezTo>
                    <a:pt x="4" y="76"/>
                    <a:pt x="3" y="73"/>
                    <a:pt x="0" y="72"/>
                  </a:cubicBezTo>
                  <a:cubicBezTo>
                    <a:pt x="0" y="50"/>
                    <a:pt x="0" y="27"/>
                    <a:pt x="0" y="5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5" y="26"/>
                    <a:pt x="235" y="52"/>
                    <a:pt x="235" y="78"/>
                  </a:cubicBezTo>
                  <a:cubicBezTo>
                    <a:pt x="235" y="78"/>
                    <a:pt x="235" y="77"/>
                    <a:pt x="235" y="77"/>
                  </a:cubicBezTo>
                </a:path>
              </a:pathLst>
            </a:custGeom>
            <a:solidFill>
              <a:srgbClr val="814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2" name="任意多边形 191">
              <a:extLst>
                <a:ext uri="{FF2B5EF4-FFF2-40B4-BE49-F238E27FC236}">
                  <a16:creationId xmlns:a16="http://schemas.microsoft.com/office/drawing/2014/main" id="{858B10D1-4CD6-4356-959F-9C91963C6D1E}"/>
                </a:ext>
              </a:extLst>
            </p:cNvPr>
            <p:cNvSpPr/>
            <p:nvPr/>
          </p:nvSpPr>
          <p:spPr bwMode="auto">
            <a:xfrm>
              <a:off x="4983164" y="2473326"/>
              <a:ext cx="295275" cy="231775"/>
            </a:xfrm>
            <a:custGeom>
              <a:avLst/>
              <a:gdLst>
                <a:gd name="T0" fmla="*/ 113 w 113"/>
                <a:gd name="T1" fmla="*/ 63 h 89"/>
                <a:gd name="T2" fmla="*/ 113 w 113"/>
                <a:gd name="T3" fmla="*/ 89 h 89"/>
                <a:gd name="T4" fmla="*/ 0 w 113"/>
                <a:gd name="T5" fmla="*/ 24 h 89"/>
                <a:gd name="T6" fmla="*/ 1 w 113"/>
                <a:gd name="T7" fmla="*/ 9 h 89"/>
                <a:gd name="T8" fmla="*/ 5 w 113"/>
                <a:gd name="T9" fmla="*/ 0 h 89"/>
                <a:gd name="T10" fmla="*/ 113 w 113"/>
                <a:gd name="T11" fmla="*/ 6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89">
                  <a:moveTo>
                    <a:pt x="113" y="63"/>
                  </a:moveTo>
                  <a:cubicBezTo>
                    <a:pt x="113" y="89"/>
                    <a:pt x="113" y="89"/>
                    <a:pt x="113" y="8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3"/>
                    <a:pt x="0" y="12"/>
                    <a:pt x="1" y="9"/>
                  </a:cubicBezTo>
                  <a:cubicBezTo>
                    <a:pt x="2" y="6"/>
                    <a:pt x="3" y="3"/>
                    <a:pt x="5" y="0"/>
                  </a:cubicBezTo>
                  <a:cubicBezTo>
                    <a:pt x="113" y="63"/>
                    <a:pt x="113" y="63"/>
                    <a:pt x="113" y="63"/>
                  </a:cubicBezTo>
                </a:path>
              </a:pathLst>
            </a:custGeom>
            <a:solidFill>
              <a:srgbClr val="A68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3" name="任意多边形 192">
              <a:extLst>
                <a:ext uri="{FF2B5EF4-FFF2-40B4-BE49-F238E27FC236}">
                  <a16:creationId xmlns:a16="http://schemas.microsoft.com/office/drawing/2014/main" id="{1F550DAF-7709-4894-B789-7512649F69D3}"/>
                </a:ext>
              </a:extLst>
            </p:cNvPr>
            <p:cNvSpPr/>
            <p:nvPr/>
          </p:nvSpPr>
          <p:spPr bwMode="auto">
            <a:xfrm>
              <a:off x="4938714" y="2266951"/>
              <a:ext cx="350838" cy="576263"/>
            </a:xfrm>
            <a:custGeom>
              <a:avLst/>
              <a:gdLst>
                <a:gd name="T0" fmla="*/ 0 w 134"/>
                <a:gd name="T1" fmla="*/ 172 h 221"/>
                <a:gd name="T2" fmla="*/ 0 w 134"/>
                <a:gd name="T3" fmla="*/ 92 h 221"/>
                <a:gd name="T4" fmla="*/ 20 w 134"/>
                <a:gd name="T5" fmla="*/ 57 h 221"/>
                <a:gd name="T6" fmla="*/ 118 w 134"/>
                <a:gd name="T7" fmla="*/ 1 h 221"/>
                <a:gd name="T8" fmla="*/ 122 w 134"/>
                <a:gd name="T9" fmla="*/ 0 h 221"/>
                <a:gd name="T10" fmla="*/ 127 w 134"/>
                <a:gd name="T11" fmla="*/ 16 h 221"/>
                <a:gd name="T12" fmla="*/ 27 w 134"/>
                <a:gd name="T13" fmla="*/ 74 h 221"/>
                <a:gd name="T14" fmla="*/ 17 w 134"/>
                <a:gd name="T15" fmla="*/ 92 h 221"/>
                <a:gd name="T16" fmla="*/ 17 w 134"/>
                <a:gd name="T17" fmla="*/ 172 h 221"/>
                <a:gd name="T18" fmla="*/ 15 w 134"/>
                <a:gd name="T19" fmla="*/ 175 h 221"/>
                <a:gd name="T20" fmla="*/ 0 w 134"/>
                <a:gd name="T21" fmla="*/ 17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" h="221">
                  <a:moveTo>
                    <a:pt x="0" y="172"/>
                  </a:moveTo>
                  <a:cubicBezTo>
                    <a:pt x="0" y="41"/>
                    <a:pt x="0" y="221"/>
                    <a:pt x="0" y="92"/>
                  </a:cubicBezTo>
                  <a:cubicBezTo>
                    <a:pt x="0" y="80"/>
                    <a:pt x="8" y="65"/>
                    <a:pt x="20" y="57"/>
                  </a:cubicBezTo>
                  <a:cubicBezTo>
                    <a:pt x="20" y="57"/>
                    <a:pt x="14" y="61"/>
                    <a:pt x="118" y="1"/>
                  </a:cubicBezTo>
                  <a:cubicBezTo>
                    <a:pt x="117" y="2"/>
                    <a:pt x="119" y="0"/>
                    <a:pt x="122" y="0"/>
                  </a:cubicBezTo>
                  <a:cubicBezTo>
                    <a:pt x="131" y="0"/>
                    <a:pt x="134" y="11"/>
                    <a:pt x="127" y="16"/>
                  </a:cubicBezTo>
                  <a:cubicBezTo>
                    <a:pt x="125" y="17"/>
                    <a:pt x="29" y="72"/>
                    <a:pt x="27" y="74"/>
                  </a:cubicBezTo>
                  <a:cubicBezTo>
                    <a:pt x="21" y="79"/>
                    <a:pt x="17" y="87"/>
                    <a:pt x="17" y="92"/>
                  </a:cubicBezTo>
                  <a:cubicBezTo>
                    <a:pt x="17" y="121"/>
                    <a:pt x="17" y="141"/>
                    <a:pt x="17" y="172"/>
                  </a:cubicBezTo>
                  <a:cubicBezTo>
                    <a:pt x="17" y="173"/>
                    <a:pt x="16" y="175"/>
                    <a:pt x="15" y="175"/>
                  </a:cubicBezTo>
                  <a:cubicBezTo>
                    <a:pt x="10" y="178"/>
                    <a:pt x="0" y="176"/>
                    <a:pt x="0" y="172"/>
                  </a:cubicBezTo>
                  <a:close/>
                </a:path>
              </a:pathLst>
            </a:custGeom>
            <a:solidFill>
              <a:srgbClr val="4841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4" name="任意多边形 193">
              <a:extLst>
                <a:ext uri="{FF2B5EF4-FFF2-40B4-BE49-F238E27FC236}">
                  <a16:creationId xmlns:a16="http://schemas.microsoft.com/office/drawing/2014/main" id="{30BA3287-952E-43D6-AE0E-71FF909897ED}"/>
                </a:ext>
              </a:extLst>
            </p:cNvPr>
            <p:cNvSpPr/>
            <p:nvPr/>
          </p:nvSpPr>
          <p:spPr bwMode="auto">
            <a:xfrm>
              <a:off x="4929189" y="2709863"/>
              <a:ext cx="69850" cy="44450"/>
            </a:xfrm>
            <a:custGeom>
              <a:avLst/>
              <a:gdLst>
                <a:gd name="T0" fmla="*/ 4 w 27"/>
                <a:gd name="T1" fmla="*/ 2 h 17"/>
                <a:gd name="T2" fmla="*/ 7 w 27"/>
                <a:gd name="T3" fmla="*/ 5 h 17"/>
                <a:gd name="T4" fmla="*/ 21 w 27"/>
                <a:gd name="T5" fmla="*/ 2 h 17"/>
                <a:gd name="T6" fmla="*/ 21 w 27"/>
                <a:gd name="T7" fmla="*/ 0 h 17"/>
                <a:gd name="T8" fmla="*/ 24 w 27"/>
                <a:gd name="T9" fmla="*/ 3 h 17"/>
                <a:gd name="T10" fmla="*/ 25 w 27"/>
                <a:gd name="T11" fmla="*/ 6 h 17"/>
                <a:gd name="T12" fmla="*/ 3 w 27"/>
                <a:gd name="T13" fmla="*/ 12 h 17"/>
                <a:gd name="T14" fmla="*/ 0 w 27"/>
                <a:gd name="T15" fmla="*/ 6 h 17"/>
                <a:gd name="T16" fmla="*/ 4 w 27"/>
                <a:gd name="T17" fmla="*/ 0 h 17"/>
                <a:gd name="T18" fmla="*/ 4 w 27"/>
                <a:gd name="T1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17">
                  <a:moveTo>
                    <a:pt x="4" y="2"/>
                  </a:moveTo>
                  <a:cubicBezTo>
                    <a:pt x="4" y="3"/>
                    <a:pt x="5" y="5"/>
                    <a:pt x="7" y="5"/>
                  </a:cubicBezTo>
                  <a:cubicBezTo>
                    <a:pt x="13" y="9"/>
                    <a:pt x="21" y="6"/>
                    <a:pt x="21" y="2"/>
                  </a:cubicBezTo>
                  <a:cubicBezTo>
                    <a:pt x="21" y="1"/>
                    <a:pt x="21" y="0"/>
                    <a:pt x="21" y="0"/>
                  </a:cubicBezTo>
                  <a:cubicBezTo>
                    <a:pt x="23" y="1"/>
                    <a:pt x="23" y="2"/>
                    <a:pt x="24" y="3"/>
                  </a:cubicBezTo>
                  <a:cubicBezTo>
                    <a:pt x="25" y="4"/>
                    <a:pt x="25" y="6"/>
                    <a:pt x="25" y="6"/>
                  </a:cubicBezTo>
                  <a:cubicBezTo>
                    <a:pt x="27" y="13"/>
                    <a:pt x="11" y="17"/>
                    <a:pt x="3" y="12"/>
                  </a:cubicBezTo>
                  <a:cubicBezTo>
                    <a:pt x="0" y="10"/>
                    <a:pt x="0" y="8"/>
                    <a:pt x="0" y="6"/>
                  </a:cubicBezTo>
                  <a:cubicBezTo>
                    <a:pt x="0" y="5"/>
                    <a:pt x="1" y="2"/>
                    <a:pt x="4" y="0"/>
                  </a:cubicBezTo>
                  <a:cubicBezTo>
                    <a:pt x="4" y="1"/>
                    <a:pt x="4" y="0"/>
                    <a:pt x="4" y="2"/>
                  </a:cubicBezTo>
                  <a:close/>
                </a:path>
              </a:pathLst>
            </a:custGeom>
            <a:solidFill>
              <a:srgbClr val="D244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5" name="任意多边形 194">
              <a:extLst>
                <a:ext uri="{FF2B5EF4-FFF2-40B4-BE49-F238E27FC236}">
                  <a16:creationId xmlns:a16="http://schemas.microsoft.com/office/drawing/2014/main" id="{F8437028-C51D-4BE8-A136-951F8DFE1776}"/>
                </a:ext>
              </a:extLst>
            </p:cNvPr>
            <p:cNvSpPr/>
            <p:nvPr/>
          </p:nvSpPr>
          <p:spPr bwMode="auto">
            <a:xfrm>
              <a:off x="4686301" y="2295526"/>
              <a:ext cx="288925" cy="214313"/>
            </a:xfrm>
            <a:custGeom>
              <a:avLst/>
              <a:gdLst>
                <a:gd name="T0" fmla="*/ 97 w 111"/>
                <a:gd name="T1" fmla="*/ 82 h 82"/>
                <a:gd name="T2" fmla="*/ 0 w 111"/>
                <a:gd name="T3" fmla="*/ 26 h 82"/>
                <a:gd name="T4" fmla="*/ 0 w 111"/>
                <a:gd name="T5" fmla="*/ 0 h 82"/>
                <a:gd name="T6" fmla="*/ 104 w 111"/>
                <a:gd name="T7" fmla="*/ 60 h 82"/>
                <a:gd name="T8" fmla="*/ 100 w 111"/>
                <a:gd name="T9" fmla="*/ 68 h 82"/>
                <a:gd name="T10" fmla="*/ 97 w 111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82">
                  <a:moveTo>
                    <a:pt x="97" y="82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1" y="64"/>
                    <a:pt x="103" y="59"/>
                    <a:pt x="104" y="60"/>
                  </a:cubicBezTo>
                  <a:cubicBezTo>
                    <a:pt x="102" y="62"/>
                    <a:pt x="101" y="65"/>
                    <a:pt x="100" y="68"/>
                  </a:cubicBezTo>
                  <a:cubicBezTo>
                    <a:pt x="97" y="73"/>
                    <a:pt x="97" y="78"/>
                    <a:pt x="97" y="82"/>
                  </a:cubicBezTo>
                  <a:close/>
                </a:path>
              </a:pathLst>
            </a:custGeom>
            <a:solidFill>
              <a:srgbClr val="A68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6" name="任意多边形 195">
              <a:extLst>
                <a:ext uri="{FF2B5EF4-FFF2-40B4-BE49-F238E27FC236}">
                  <a16:creationId xmlns:a16="http://schemas.microsoft.com/office/drawing/2014/main" id="{D804A36E-BA84-4621-BCB6-EBF3EEED323D}"/>
                </a:ext>
              </a:extLst>
            </p:cNvPr>
            <p:cNvSpPr/>
            <p:nvPr/>
          </p:nvSpPr>
          <p:spPr bwMode="auto">
            <a:xfrm>
              <a:off x="4910139" y="2709863"/>
              <a:ext cx="101600" cy="152400"/>
            </a:xfrm>
            <a:custGeom>
              <a:avLst/>
              <a:gdLst>
                <a:gd name="T0" fmla="*/ 8 w 39"/>
                <a:gd name="T1" fmla="*/ 10 h 58"/>
                <a:gd name="T2" fmla="*/ 32 w 39"/>
                <a:gd name="T3" fmla="*/ 7 h 58"/>
                <a:gd name="T4" fmla="*/ 38 w 39"/>
                <a:gd name="T5" fmla="*/ 40 h 58"/>
                <a:gd name="T6" fmla="*/ 38 w 39"/>
                <a:gd name="T7" fmla="*/ 41 h 58"/>
                <a:gd name="T8" fmla="*/ 38 w 39"/>
                <a:gd name="T9" fmla="*/ 41 h 58"/>
                <a:gd name="T10" fmla="*/ 18 w 39"/>
                <a:gd name="T11" fmla="*/ 57 h 58"/>
                <a:gd name="T12" fmla="*/ 2 w 39"/>
                <a:gd name="T13" fmla="*/ 41 h 58"/>
                <a:gd name="T14" fmla="*/ 7 w 39"/>
                <a:gd name="T15" fmla="*/ 6 h 58"/>
                <a:gd name="T16" fmla="*/ 8 w 39"/>
                <a:gd name="T17" fmla="*/ 1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58">
                  <a:moveTo>
                    <a:pt x="8" y="10"/>
                  </a:moveTo>
                  <a:cubicBezTo>
                    <a:pt x="14" y="17"/>
                    <a:pt x="32" y="15"/>
                    <a:pt x="32" y="7"/>
                  </a:cubicBezTo>
                  <a:cubicBezTo>
                    <a:pt x="32" y="6"/>
                    <a:pt x="31" y="0"/>
                    <a:pt x="38" y="40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9"/>
                    <a:pt x="32" y="58"/>
                    <a:pt x="18" y="57"/>
                  </a:cubicBezTo>
                  <a:cubicBezTo>
                    <a:pt x="6" y="56"/>
                    <a:pt x="0" y="49"/>
                    <a:pt x="2" y="41"/>
                  </a:cubicBezTo>
                  <a:cubicBezTo>
                    <a:pt x="2" y="40"/>
                    <a:pt x="7" y="7"/>
                    <a:pt x="7" y="6"/>
                  </a:cubicBezTo>
                  <a:cubicBezTo>
                    <a:pt x="7" y="7"/>
                    <a:pt x="7" y="9"/>
                    <a:pt x="8" y="10"/>
                  </a:cubicBezTo>
                  <a:close/>
                </a:path>
              </a:pathLst>
            </a:custGeom>
            <a:solidFill>
              <a:srgbClr val="AA22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7" name="任意多边形 196">
              <a:extLst>
                <a:ext uri="{FF2B5EF4-FFF2-40B4-BE49-F238E27FC236}">
                  <a16:creationId xmlns:a16="http://schemas.microsoft.com/office/drawing/2014/main" id="{DC279ACC-A868-4E63-A2B9-44FE10464DF3}"/>
                </a:ext>
              </a:extLst>
            </p:cNvPr>
            <p:cNvSpPr/>
            <p:nvPr/>
          </p:nvSpPr>
          <p:spPr bwMode="auto">
            <a:xfrm>
              <a:off x="5453064" y="2724151"/>
              <a:ext cx="214313" cy="163513"/>
            </a:xfrm>
            <a:custGeom>
              <a:avLst/>
              <a:gdLst>
                <a:gd name="T0" fmla="*/ 55 w 82"/>
                <a:gd name="T1" fmla="*/ 0 h 63"/>
                <a:gd name="T2" fmla="*/ 51 w 82"/>
                <a:gd name="T3" fmla="*/ 19 h 63"/>
                <a:gd name="T4" fmla="*/ 51 w 82"/>
                <a:gd name="T5" fmla="*/ 19 h 63"/>
                <a:gd name="T6" fmla="*/ 34 w 82"/>
                <a:gd name="T7" fmla="*/ 41 h 63"/>
                <a:gd name="T8" fmla="*/ 0 w 82"/>
                <a:gd name="T9" fmla="*/ 60 h 63"/>
                <a:gd name="T10" fmla="*/ 26 w 82"/>
                <a:gd name="T11" fmla="*/ 63 h 63"/>
                <a:gd name="T12" fmla="*/ 38 w 82"/>
                <a:gd name="T13" fmla="*/ 60 h 63"/>
                <a:gd name="T14" fmla="*/ 76 w 82"/>
                <a:gd name="T15" fmla="*/ 33 h 63"/>
                <a:gd name="T16" fmla="*/ 76 w 82"/>
                <a:gd name="T17" fmla="*/ 20 h 63"/>
                <a:gd name="T18" fmla="*/ 60 w 82"/>
                <a:gd name="T19" fmla="*/ 11 h 63"/>
                <a:gd name="T20" fmla="*/ 55 w 82"/>
                <a:gd name="T21" fmla="*/ 1 h 63"/>
                <a:gd name="T22" fmla="*/ 55 w 82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63">
                  <a:moveTo>
                    <a:pt x="55" y="0"/>
                  </a:moveTo>
                  <a:cubicBezTo>
                    <a:pt x="55" y="6"/>
                    <a:pt x="54" y="13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8" y="25"/>
                    <a:pt x="43" y="33"/>
                    <a:pt x="34" y="41"/>
                  </a:cubicBezTo>
                  <a:cubicBezTo>
                    <a:pt x="25" y="49"/>
                    <a:pt x="13" y="55"/>
                    <a:pt x="0" y="60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82" y="28"/>
                    <a:pt x="81" y="23"/>
                    <a:pt x="76" y="20"/>
                  </a:cubicBezTo>
                  <a:cubicBezTo>
                    <a:pt x="60" y="11"/>
                    <a:pt x="60" y="11"/>
                    <a:pt x="60" y="11"/>
                  </a:cubicBezTo>
                  <a:cubicBezTo>
                    <a:pt x="57" y="9"/>
                    <a:pt x="55" y="5"/>
                    <a:pt x="55" y="1"/>
                  </a:cubicBezTo>
                  <a:cubicBezTo>
                    <a:pt x="55" y="1"/>
                    <a:pt x="55" y="0"/>
                    <a:pt x="55" y="0"/>
                  </a:cubicBezTo>
                </a:path>
              </a:pathLst>
            </a:custGeom>
            <a:solidFill>
              <a:srgbClr val="6D8A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8" name="任意多边形 197">
              <a:extLst>
                <a:ext uri="{FF2B5EF4-FFF2-40B4-BE49-F238E27FC236}">
                  <a16:creationId xmlns:a16="http://schemas.microsoft.com/office/drawing/2014/main" id="{3C67A5F3-A7A4-4061-8631-5EFE018C4EC7}"/>
                </a:ext>
              </a:extLst>
            </p:cNvPr>
            <p:cNvSpPr/>
            <p:nvPr/>
          </p:nvSpPr>
          <p:spPr bwMode="auto">
            <a:xfrm>
              <a:off x="5278439" y="2522538"/>
              <a:ext cx="317500" cy="361950"/>
            </a:xfrm>
            <a:custGeom>
              <a:avLst/>
              <a:gdLst>
                <a:gd name="T0" fmla="*/ 122 w 122"/>
                <a:gd name="T1" fmla="*/ 0 h 139"/>
                <a:gd name="T2" fmla="*/ 0 w 122"/>
                <a:gd name="T3" fmla="*/ 70 h 139"/>
                <a:gd name="T4" fmla="*/ 58 w 122"/>
                <a:gd name="T5" fmla="*/ 139 h 139"/>
                <a:gd name="T6" fmla="*/ 66 w 122"/>
                <a:gd name="T7" fmla="*/ 137 h 139"/>
                <a:gd name="T8" fmla="*/ 67 w 122"/>
                <a:gd name="T9" fmla="*/ 137 h 139"/>
                <a:gd name="T10" fmla="*/ 101 w 122"/>
                <a:gd name="T11" fmla="*/ 118 h 139"/>
                <a:gd name="T12" fmla="*/ 118 w 122"/>
                <a:gd name="T13" fmla="*/ 96 h 139"/>
                <a:gd name="T14" fmla="*/ 118 w 122"/>
                <a:gd name="T15" fmla="*/ 96 h 139"/>
                <a:gd name="T16" fmla="*/ 122 w 122"/>
                <a:gd name="T17" fmla="*/ 77 h 139"/>
                <a:gd name="T18" fmla="*/ 122 w 122"/>
                <a:gd name="T19" fmla="*/ 78 h 139"/>
                <a:gd name="T20" fmla="*/ 122 w 122"/>
                <a:gd name="T21" fmla="*/ 78 h 139"/>
                <a:gd name="T22" fmla="*/ 122 w 122"/>
                <a:gd name="T2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2" h="139">
                  <a:moveTo>
                    <a:pt x="122" y="0"/>
                  </a:move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23" y="139"/>
                    <a:pt x="58" y="139"/>
                  </a:cubicBezTo>
                  <a:cubicBezTo>
                    <a:pt x="60" y="139"/>
                    <a:pt x="63" y="138"/>
                    <a:pt x="66" y="137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80" y="132"/>
                    <a:pt x="92" y="126"/>
                    <a:pt x="101" y="118"/>
                  </a:cubicBezTo>
                  <a:cubicBezTo>
                    <a:pt x="110" y="110"/>
                    <a:pt x="115" y="102"/>
                    <a:pt x="118" y="96"/>
                  </a:cubicBezTo>
                  <a:cubicBezTo>
                    <a:pt x="118" y="96"/>
                    <a:pt x="118" y="96"/>
                    <a:pt x="118" y="96"/>
                  </a:cubicBezTo>
                  <a:cubicBezTo>
                    <a:pt x="121" y="90"/>
                    <a:pt x="122" y="83"/>
                    <a:pt x="122" y="77"/>
                  </a:cubicBezTo>
                  <a:cubicBezTo>
                    <a:pt x="122" y="77"/>
                    <a:pt x="122" y="78"/>
                    <a:pt x="122" y="78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52"/>
                    <a:pt x="122" y="26"/>
                    <a:pt x="122" y="0"/>
                  </a:cubicBezTo>
                </a:path>
              </a:pathLst>
            </a:custGeom>
            <a:solidFill>
              <a:srgbClr val="592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9" name="任意多边形 198">
              <a:extLst>
                <a:ext uri="{FF2B5EF4-FFF2-40B4-BE49-F238E27FC236}">
                  <a16:creationId xmlns:a16="http://schemas.microsoft.com/office/drawing/2014/main" id="{70C42B74-5E08-4BB2-858C-FE2A8B321502}"/>
                </a:ext>
              </a:extLst>
            </p:cNvPr>
            <p:cNvSpPr/>
            <p:nvPr/>
          </p:nvSpPr>
          <p:spPr bwMode="auto">
            <a:xfrm>
              <a:off x="6350001" y="3336926"/>
              <a:ext cx="158750" cy="150813"/>
            </a:xfrm>
            <a:custGeom>
              <a:avLst/>
              <a:gdLst>
                <a:gd name="T0" fmla="*/ 61 w 61"/>
                <a:gd name="T1" fmla="*/ 1 h 58"/>
                <a:gd name="T2" fmla="*/ 61 w 61"/>
                <a:gd name="T3" fmla="*/ 1 h 58"/>
                <a:gd name="T4" fmla="*/ 47 w 61"/>
                <a:gd name="T5" fmla="*/ 17 h 58"/>
                <a:gd name="T6" fmla="*/ 56 w 61"/>
                <a:gd name="T7" fmla="*/ 36 h 58"/>
                <a:gd name="T8" fmla="*/ 18 w 61"/>
                <a:gd name="T9" fmla="*/ 58 h 58"/>
                <a:gd name="T10" fmla="*/ 9 w 61"/>
                <a:gd name="T11" fmla="*/ 58 h 58"/>
                <a:gd name="T12" fmla="*/ 9 w 61"/>
                <a:gd name="T13" fmla="*/ 58 h 58"/>
                <a:gd name="T14" fmla="*/ 0 w 61"/>
                <a:gd name="T15" fmla="*/ 37 h 58"/>
                <a:gd name="T16" fmla="*/ 59 w 61"/>
                <a:gd name="T17" fmla="*/ 0 h 58"/>
                <a:gd name="T18" fmla="*/ 61 w 61"/>
                <a:gd name="T19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58">
                  <a:moveTo>
                    <a:pt x="61" y="1"/>
                  </a:moveTo>
                  <a:cubicBezTo>
                    <a:pt x="61" y="1"/>
                    <a:pt x="61" y="1"/>
                    <a:pt x="61" y="1"/>
                  </a:cubicBezTo>
                  <a:cubicBezTo>
                    <a:pt x="61" y="9"/>
                    <a:pt x="47" y="11"/>
                    <a:pt x="47" y="17"/>
                  </a:cubicBezTo>
                  <a:cubicBezTo>
                    <a:pt x="47" y="21"/>
                    <a:pt x="56" y="29"/>
                    <a:pt x="56" y="36"/>
                  </a:cubicBezTo>
                  <a:cubicBezTo>
                    <a:pt x="56" y="54"/>
                    <a:pt x="36" y="58"/>
                    <a:pt x="18" y="58"/>
                  </a:cubicBezTo>
                  <a:cubicBezTo>
                    <a:pt x="15" y="58"/>
                    <a:pt x="12" y="58"/>
                    <a:pt x="9" y="58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0"/>
                    <a:pt x="6" y="42"/>
                    <a:pt x="0" y="37"/>
                  </a:cubicBezTo>
                  <a:cubicBezTo>
                    <a:pt x="15" y="29"/>
                    <a:pt x="23" y="0"/>
                    <a:pt x="59" y="0"/>
                  </a:cubicBezTo>
                  <a:cubicBezTo>
                    <a:pt x="60" y="0"/>
                    <a:pt x="61" y="0"/>
                    <a:pt x="61" y="1"/>
                  </a:cubicBezTo>
                  <a:close/>
                </a:path>
              </a:pathLst>
            </a:custGeom>
            <a:solidFill>
              <a:srgbClr val="E6A5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0" name="任意多边形 199">
              <a:extLst>
                <a:ext uri="{FF2B5EF4-FFF2-40B4-BE49-F238E27FC236}">
                  <a16:creationId xmlns:a16="http://schemas.microsoft.com/office/drawing/2014/main" id="{6AEE807D-D327-444A-B595-DFE64E4CFABD}"/>
                </a:ext>
              </a:extLst>
            </p:cNvPr>
            <p:cNvSpPr/>
            <p:nvPr/>
          </p:nvSpPr>
          <p:spPr bwMode="auto">
            <a:xfrm>
              <a:off x="5611814" y="3354388"/>
              <a:ext cx="765175" cy="676275"/>
            </a:xfrm>
            <a:custGeom>
              <a:avLst/>
              <a:gdLst>
                <a:gd name="T0" fmla="*/ 13 w 293"/>
                <a:gd name="T1" fmla="*/ 12 h 259"/>
                <a:gd name="T2" fmla="*/ 32 w 293"/>
                <a:gd name="T3" fmla="*/ 2 h 259"/>
                <a:gd name="T4" fmla="*/ 36 w 293"/>
                <a:gd name="T5" fmla="*/ 13 h 259"/>
                <a:gd name="T6" fmla="*/ 48 w 293"/>
                <a:gd name="T7" fmla="*/ 15 h 259"/>
                <a:gd name="T8" fmla="*/ 78 w 293"/>
                <a:gd name="T9" fmla="*/ 8 h 259"/>
                <a:gd name="T10" fmla="*/ 80 w 293"/>
                <a:gd name="T11" fmla="*/ 0 h 259"/>
                <a:gd name="T12" fmla="*/ 110 w 293"/>
                <a:gd name="T13" fmla="*/ 14 h 259"/>
                <a:gd name="T14" fmla="*/ 150 w 293"/>
                <a:gd name="T15" fmla="*/ 26 h 259"/>
                <a:gd name="T16" fmla="*/ 254 w 293"/>
                <a:gd name="T17" fmla="*/ 35 h 259"/>
                <a:gd name="T18" fmla="*/ 277 w 293"/>
                <a:gd name="T19" fmla="*/ 26 h 259"/>
                <a:gd name="T20" fmla="*/ 283 w 293"/>
                <a:gd name="T21" fmla="*/ 30 h 259"/>
                <a:gd name="T22" fmla="*/ 292 w 293"/>
                <a:gd name="T23" fmla="*/ 51 h 259"/>
                <a:gd name="T24" fmla="*/ 293 w 293"/>
                <a:gd name="T25" fmla="*/ 56 h 259"/>
                <a:gd name="T26" fmla="*/ 145 w 293"/>
                <a:gd name="T27" fmla="*/ 90 h 259"/>
                <a:gd name="T28" fmla="*/ 130 w 293"/>
                <a:gd name="T29" fmla="*/ 115 h 259"/>
                <a:gd name="T30" fmla="*/ 133 w 293"/>
                <a:gd name="T31" fmla="*/ 240 h 259"/>
                <a:gd name="T32" fmla="*/ 133 w 293"/>
                <a:gd name="T33" fmla="*/ 240 h 259"/>
                <a:gd name="T34" fmla="*/ 64 w 293"/>
                <a:gd name="T35" fmla="*/ 259 h 259"/>
                <a:gd name="T36" fmla="*/ 5 w 293"/>
                <a:gd name="T37" fmla="*/ 210 h 259"/>
                <a:gd name="T38" fmla="*/ 5 w 293"/>
                <a:gd name="T39" fmla="*/ 210 h 259"/>
                <a:gd name="T40" fmla="*/ 3 w 293"/>
                <a:gd name="T41" fmla="*/ 201 h 259"/>
                <a:gd name="T42" fmla="*/ 10 w 293"/>
                <a:gd name="T43" fmla="*/ 164 h 259"/>
                <a:gd name="T44" fmla="*/ 11 w 293"/>
                <a:gd name="T45" fmla="*/ 143 h 259"/>
                <a:gd name="T46" fmla="*/ 0 w 293"/>
                <a:gd name="T47" fmla="*/ 44 h 259"/>
                <a:gd name="T48" fmla="*/ 4 w 293"/>
                <a:gd name="T49" fmla="*/ 22 h 259"/>
                <a:gd name="T50" fmla="*/ 13 w 293"/>
                <a:gd name="T51" fmla="*/ 12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3" h="259">
                  <a:moveTo>
                    <a:pt x="13" y="12"/>
                  </a:moveTo>
                  <a:cubicBezTo>
                    <a:pt x="18" y="8"/>
                    <a:pt x="25" y="4"/>
                    <a:pt x="32" y="2"/>
                  </a:cubicBezTo>
                  <a:cubicBezTo>
                    <a:pt x="33" y="6"/>
                    <a:pt x="34" y="10"/>
                    <a:pt x="36" y="13"/>
                  </a:cubicBezTo>
                  <a:cubicBezTo>
                    <a:pt x="40" y="14"/>
                    <a:pt x="44" y="15"/>
                    <a:pt x="48" y="15"/>
                  </a:cubicBezTo>
                  <a:cubicBezTo>
                    <a:pt x="58" y="15"/>
                    <a:pt x="69" y="12"/>
                    <a:pt x="78" y="8"/>
                  </a:cubicBezTo>
                  <a:cubicBezTo>
                    <a:pt x="79" y="5"/>
                    <a:pt x="79" y="3"/>
                    <a:pt x="80" y="0"/>
                  </a:cubicBezTo>
                  <a:cubicBezTo>
                    <a:pt x="92" y="3"/>
                    <a:pt x="102" y="9"/>
                    <a:pt x="110" y="14"/>
                  </a:cubicBezTo>
                  <a:cubicBezTo>
                    <a:pt x="122" y="22"/>
                    <a:pt x="136" y="26"/>
                    <a:pt x="150" y="26"/>
                  </a:cubicBezTo>
                  <a:cubicBezTo>
                    <a:pt x="187" y="26"/>
                    <a:pt x="228" y="41"/>
                    <a:pt x="254" y="35"/>
                  </a:cubicBezTo>
                  <a:cubicBezTo>
                    <a:pt x="262" y="33"/>
                    <a:pt x="269" y="29"/>
                    <a:pt x="277" y="26"/>
                  </a:cubicBezTo>
                  <a:cubicBezTo>
                    <a:pt x="280" y="27"/>
                    <a:pt x="282" y="28"/>
                    <a:pt x="283" y="30"/>
                  </a:cubicBezTo>
                  <a:cubicBezTo>
                    <a:pt x="289" y="35"/>
                    <a:pt x="292" y="43"/>
                    <a:pt x="292" y="51"/>
                  </a:cubicBezTo>
                  <a:cubicBezTo>
                    <a:pt x="293" y="53"/>
                    <a:pt x="293" y="54"/>
                    <a:pt x="293" y="56"/>
                  </a:cubicBezTo>
                  <a:cubicBezTo>
                    <a:pt x="243" y="87"/>
                    <a:pt x="190" y="76"/>
                    <a:pt x="145" y="90"/>
                  </a:cubicBezTo>
                  <a:cubicBezTo>
                    <a:pt x="135" y="93"/>
                    <a:pt x="128" y="104"/>
                    <a:pt x="130" y="115"/>
                  </a:cubicBezTo>
                  <a:cubicBezTo>
                    <a:pt x="137" y="165"/>
                    <a:pt x="151" y="223"/>
                    <a:pt x="133" y="240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18" y="252"/>
                    <a:pt x="95" y="259"/>
                    <a:pt x="64" y="259"/>
                  </a:cubicBezTo>
                  <a:cubicBezTo>
                    <a:pt x="34" y="259"/>
                    <a:pt x="14" y="237"/>
                    <a:pt x="5" y="210"/>
                  </a:cubicBezTo>
                  <a:cubicBezTo>
                    <a:pt x="5" y="210"/>
                    <a:pt x="5" y="210"/>
                    <a:pt x="5" y="210"/>
                  </a:cubicBezTo>
                  <a:cubicBezTo>
                    <a:pt x="5" y="207"/>
                    <a:pt x="4" y="204"/>
                    <a:pt x="3" y="201"/>
                  </a:cubicBezTo>
                  <a:cubicBezTo>
                    <a:pt x="5" y="194"/>
                    <a:pt x="8" y="179"/>
                    <a:pt x="10" y="164"/>
                  </a:cubicBezTo>
                  <a:cubicBezTo>
                    <a:pt x="10" y="157"/>
                    <a:pt x="11" y="150"/>
                    <a:pt x="11" y="143"/>
                  </a:cubicBezTo>
                  <a:cubicBezTo>
                    <a:pt x="11" y="101"/>
                    <a:pt x="0" y="67"/>
                    <a:pt x="0" y="44"/>
                  </a:cubicBezTo>
                  <a:cubicBezTo>
                    <a:pt x="0" y="37"/>
                    <a:pt x="1" y="29"/>
                    <a:pt x="4" y="22"/>
                  </a:cubicBezTo>
                  <a:cubicBezTo>
                    <a:pt x="6" y="18"/>
                    <a:pt x="9" y="14"/>
                    <a:pt x="13" y="12"/>
                  </a:cubicBezTo>
                  <a:close/>
                </a:path>
              </a:pathLst>
            </a:custGeom>
            <a:solidFill>
              <a:srgbClr val="F6BA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1" name="任意多边形 200">
              <a:extLst>
                <a:ext uri="{FF2B5EF4-FFF2-40B4-BE49-F238E27FC236}">
                  <a16:creationId xmlns:a16="http://schemas.microsoft.com/office/drawing/2014/main" id="{CA9A0384-267B-4FD3-BA1E-54D480260F34}"/>
                </a:ext>
              </a:extLst>
            </p:cNvPr>
            <p:cNvSpPr/>
            <p:nvPr/>
          </p:nvSpPr>
          <p:spPr bwMode="auto">
            <a:xfrm>
              <a:off x="5834064" y="4716463"/>
              <a:ext cx="250825" cy="182563"/>
            </a:xfrm>
            <a:custGeom>
              <a:avLst/>
              <a:gdLst>
                <a:gd name="T0" fmla="*/ 75 w 96"/>
                <a:gd name="T1" fmla="*/ 0 h 70"/>
                <a:gd name="T2" fmla="*/ 96 w 96"/>
                <a:gd name="T3" fmla="*/ 20 h 70"/>
                <a:gd name="T4" fmla="*/ 20 w 96"/>
                <a:gd name="T5" fmla="*/ 70 h 70"/>
                <a:gd name="T6" fmla="*/ 0 w 96"/>
                <a:gd name="T7" fmla="*/ 40 h 70"/>
                <a:gd name="T8" fmla="*/ 1 w 96"/>
                <a:gd name="T9" fmla="*/ 26 h 70"/>
                <a:gd name="T10" fmla="*/ 11 w 96"/>
                <a:gd name="T11" fmla="*/ 9 h 70"/>
                <a:gd name="T12" fmla="*/ 12 w 96"/>
                <a:gd name="T13" fmla="*/ 21 h 70"/>
                <a:gd name="T14" fmla="*/ 38 w 96"/>
                <a:gd name="T15" fmla="*/ 2 h 70"/>
                <a:gd name="T16" fmla="*/ 44 w 96"/>
                <a:gd name="T17" fmla="*/ 22 h 70"/>
                <a:gd name="T18" fmla="*/ 75 w 96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70">
                  <a:moveTo>
                    <a:pt x="75" y="0"/>
                  </a:moveTo>
                  <a:cubicBezTo>
                    <a:pt x="86" y="0"/>
                    <a:pt x="96" y="9"/>
                    <a:pt x="96" y="20"/>
                  </a:cubicBezTo>
                  <a:cubicBezTo>
                    <a:pt x="96" y="43"/>
                    <a:pt x="42" y="70"/>
                    <a:pt x="20" y="70"/>
                  </a:cubicBezTo>
                  <a:cubicBezTo>
                    <a:pt x="4" y="70"/>
                    <a:pt x="0" y="56"/>
                    <a:pt x="0" y="40"/>
                  </a:cubicBezTo>
                  <a:cubicBezTo>
                    <a:pt x="0" y="35"/>
                    <a:pt x="0" y="30"/>
                    <a:pt x="1" y="26"/>
                  </a:cubicBezTo>
                  <a:cubicBezTo>
                    <a:pt x="0" y="14"/>
                    <a:pt x="10" y="12"/>
                    <a:pt x="11" y="9"/>
                  </a:cubicBezTo>
                  <a:cubicBezTo>
                    <a:pt x="14" y="12"/>
                    <a:pt x="9" y="21"/>
                    <a:pt x="12" y="21"/>
                  </a:cubicBezTo>
                  <a:cubicBezTo>
                    <a:pt x="23" y="21"/>
                    <a:pt x="31" y="11"/>
                    <a:pt x="38" y="2"/>
                  </a:cubicBezTo>
                  <a:cubicBezTo>
                    <a:pt x="43" y="8"/>
                    <a:pt x="44" y="14"/>
                    <a:pt x="44" y="22"/>
                  </a:cubicBezTo>
                  <a:cubicBezTo>
                    <a:pt x="53" y="11"/>
                    <a:pt x="66" y="0"/>
                    <a:pt x="75" y="0"/>
                  </a:cubicBezTo>
                  <a:close/>
                </a:path>
              </a:pathLst>
            </a:custGeom>
            <a:solidFill>
              <a:srgbClr val="A68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2" name="任意多边形 201">
              <a:extLst>
                <a:ext uri="{FF2B5EF4-FFF2-40B4-BE49-F238E27FC236}">
                  <a16:creationId xmlns:a16="http://schemas.microsoft.com/office/drawing/2014/main" id="{4B480B3B-C6B9-459C-8810-18480086AE76}"/>
                </a:ext>
              </a:extLst>
            </p:cNvPr>
            <p:cNvSpPr/>
            <p:nvPr/>
          </p:nvSpPr>
          <p:spPr bwMode="auto">
            <a:xfrm>
              <a:off x="5594351" y="3902076"/>
              <a:ext cx="373063" cy="881063"/>
            </a:xfrm>
            <a:custGeom>
              <a:avLst/>
              <a:gdLst>
                <a:gd name="T0" fmla="*/ 32 w 143"/>
                <a:gd name="T1" fmla="*/ 259 h 338"/>
                <a:gd name="T2" fmla="*/ 28 w 143"/>
                <a:gd name="T3" fmla="*/ 273 h 338"/>
                <a:gd name="T4" fmla="*/ 23 w 143"/>
                <a:gd name="T5" fmla="*/ 283 h 338"/>
                <a:gd name="T6" fmla="*/ 17 w 143"/>
                <a:gd name="T7" fmla="*/ 288 h 338"/>
                <a:gd name="T8" fmla="*/ 0 w 143"/>
                <a:gd name="T9" fmla="*/ 266 h 338"/>
                <a:gd name="T10" fmla="*/ 0 w 143"/>
                <a:gd name="T11" fmla="*/ 266 h 338"/>
                <a:gd name="T12" fmla="*/ 12 w 143"/>
                <a:gd name="T13" fmla="*/ 0 h 338"/>
                <a:gd name="T14" fmla="*/ 71 w 143"/>
                <a:gd name="T15" fmla="*/ 49 h 338"/>
                <a:gd name="T16" fmla="*/ 140 w 143"/>
                <a:gd name="T17" fmla="*/ 30 h 338"/>
                <a:gd name="T18" fmla="*/ 140 w 143"/>
                <a:gd name="T19" fmla="*/ 30 h 338"/>
                <a:gd name="T20" fmla="*/ 143 w 143"/>
                <a:gd name="T21" fmla="*/ 65 h 338"/>
                <a:gd name="T22" fmla="*/ 131 w 143"/>
                <a:gd name="T23" fmla="*/ 318 h 338"/>
                <a:gd name="T24" fmla="*/ 114 w 143"/>
                <a:gd name="T25" fmla="*/ 336 h 338"/>
                <a:gd name="T26" fmla="*/ 103 w 143"/>
                <a:gd name="T27" fmla="*/ 336 h 338"/>
                <a:gd name="T28" fmla="*/ 97 w 143"/>
                <a:gd name="T29" fmla="*/ 327 h 338"/>
                <a:gd name="T30" fmla="*/ 66 w 143"/>
                <a:gd name="T31" fmla="*/ 93 h 338"/>
                <a:gd name="T32" fmla="*/ 32 w 143"/>
                <a:gd name="T33" fmla="*/ 259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3" h="338">
                  <a:moveTo>
                    <a:pt x="32" y="259"/>
                  </a:moveTo>
                  <a:cubicBezTo>
                    <a:pt x="30" y="264"/>
                    <a:pt x="29" y="269"/>
                    <a:pt x="28" y="273"/>
                  </a:cubicBezTo>
                  <a:cubicBezTo>
                    <a:pt x="27" y="277"/>
                    <a:pt x="25" y="280"/>
                    <a:pt x="23" y="283"/>
                  </a:cubicBezTo>
                  <a:cubicBezTo>
                    <a:pt x="20" y="285"/>
                    <a:pt x="18" y="288"/>
                    <a:pt x="17" y="288"/>
                  </a:cubicBezTo>
                  <a:cubicBezTo>
                    <a:pt x="8" y="288"/>
                    <a:pt x="0" y="297"/>
                    <a:pt x="0" y="266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48"/>
                    <a:pt x="6" y="15"/>
                    <a:pt x="12" y="0"/>
                  </a:cubicBezTo>
                  <a:cubicBezTo>
                    <a:pt x="21" y="27"/>
                    <a:pt x="41" y="49"/>
                    <a:pt x="71" y="49"/>
                  </a:cubicBezTo>
                  <a:cubicBezTo>
                    <a:pt x="102" y="49"/>
                    <a:pt x="125" y="42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2" y="42"/>
                    <a:pt x="143" y="53"/>
                    <a:pt x="143" y="65"/>
                  </a:cubicBezTo>
                  <a:cubicBezTo>
                    <a:pt x="143" y="66"/>
                    <a:pt x="134" y="280"/>
                    <a:pt x="131" y="318"/>
                  </a:cubicBezTo>
                  <a:cubicBezTo>
                    <a:pt x="129" y="327"/>
                    <a:pt x="125" y="332"/>
                    <a:pt x="114" y="336"/>
                  </a:cubicBezTo>
                  <a:cubicBezTo>
                    <a:pt x="108" y="338"/>
                    <a:pt x="105" y="337"/>
                    <a:pt x="103" y="336"/>
                  </a:cubicBezTo>
                  <a:cubicBezTo>
                    <a:pt x="99" y="334"/>
                    <a:pt x="97" y="331"/>
                    <a:pt x="97" y="327"/>
                  </a:cubicBezTo>
                  <a:cubicBezTo>
                    <a:pt x="98" y="288"/>
                    <a:pt x="82" y="121"/>
                    <a:pt x="66" y="93"/>
                  </a:cubicBezTo>
                  <a:cubicBezTo>
                    <a:pt x="55" y="128"/>
                    <a:pt x="43" y="213"/>
                    <a:pt x="32" y="259"/>
                  </a:cubicBezTo>
                  <a:close/>
                </a:path>
              </a:pathLst>
            </a:custGeom>
            <a:solidFill>
              <a:srgbClr val="D244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3" name="任意多边形 202">
              <a:extLst>
                <a:ext uri="{FF2B5EF4-FFF2-40B4-BE49-F238E27FC236}">
                  <a16:creationId xmlns:a16="http://schemas.microsoft.com/office/drawing/2014/main" id="{296E41F3-10AA-46C5-BB00-D2E08B422B54}"/>
                </a:ext>
              </a:extLst>
            </p:cNvPr>
            <p:cNvSpPr/>
            <p:nvPr/>
          </p:nvSpPr>
          <p:spPr bwMode="auto">
            <a:xfrm>
              <a:off x="5695951" y="3297238"/>
              <a:ext cx="125413" cy="96838"/>
            </a:xfrm>
            <a:custGeom>
              <a:avLst/>
              <a:gdLst>
                <a:gd name="T0" fmla="*/ 48 w 48"/>
                <a:gd name="T1" fmla="*/ 16 h 37"/>
                <a:gd name="T2" fmla="*/ 48 w 48"/>
                <a:gd name="T3" fmla="*/ 22 h 37"/>
                <a:gd name="T4" fmla="*/ 46 w 48"/>
                <a:gd name="T5" fmla="*/ 30 h 37"/>
                <a:gd name="T6" fmla="*/ 16 w 48"/>
                <a:gd name="T7" fmla="*/ 37 h 37"/>
                <a:gd name="T8" fmla="*/ 4 w 48"/>
                <a:gd name="T9" fmla="*/ 35 h 37"/>
                <a:gd name="T10" fmla="*/ 0 w 48"/>
                <a:gd name="T11" fmla="*/ 24 h 37"/>
                <a:gd name="T12" fmla="*/ 0 w 48"/>
                <a:gd name="T13" fmla="*/ 18 h 37"/>
                <a:gd name="T14" fmla="*/ 6 w 48"/>
                <a:gd name="T15" fmla="*/ 0 h 37"/>
                <a:gd name="T16" fmla="*/ 10 w 48"/>
                <a:gd name="T17" fmla="*/ 6 h 37"/>
                <a:gd name="T18" fmla="*/ 10 w 48"/>
                <a:gd name="T19" fmla="*/ 6 h 37"/>
                <a:gd name="T20" fmla="*/ 41 w 48"/>
                <a:gd name="T21" fmla="*/ 17 h 37"/>
                <a:gd name="T22" fmla="*/ 42 w 48"/>
                <a:gd name="T23" fmla="*/ 17 h 37"/>
                <a:gd name="T24" fmla="*/ 48 w 48"/>
                <a:gd name="T25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37">
                  <a:moveTo>
                    <a:pt x="48" y="16"/>
                  </a:moveTo>
                  <a:cubicBezTo>
                    <a:pt x="48" y="18"/>
                    <a:pt x="48" y="20"/>
                    <a:pt x="48" y="22"/>
                  </a:cubicBezTo>
                  <a:cubicBezTo>
                    <a:pt x="47" y="25"/>
                    <a:pt x="47" y="27"/>
                    <a:pt x="46" y="30"/>
                  </a:cubicBezTo>
                  <a:cubicBezTo>
                    <a:pt x="37" y="34"/>
                    <a:pt x="26" y="37"/>
                    <a:pt x="16" y="37"/>
                  </a:cubicBezTo>
                  <a:cubicBezTo>
                    <a:pt x="12" y="37"/>
                    <a:pt x="8" y="36"/>
                    <a:pt x="4" y="35"/>
                  </a:cubicBezTo>
                  <a:cubicBezTo>
                    <a:pt x="2" y="32"/>
                    <a:pt x="1" y="28"/>
                    <a:pt x="0" y="24"/>
                  </a:cubicBezTo>
                  <a:cubicBezTo>
                    <a:pt x="0" y="22"/>
                    <a:pt x="0" y="20"/>
                    <a:pt x="0" y="18"/>
                  </a:cubicBezTo>
                  <a:cubicBezTo>
                    <a:pt x="0" y="11"/>
                    <a:pt x="2" y="4"/>
                    <a:pt x="6" y="0"/>
                  </a:cubicBezTo>
                  <a:cubicBezTo>
                    <a:pt x="7" y="2"/>
                    <a:pt x="8" y="4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8" y="14"/>
                    <a:pt x="30" y="17"/>
                    <a:pt x="41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4" y="17"/>
                    <a:pt x="46" y="16"/>
                    <a:pt x="48" y="16"/>
                  </a:cubicBezTo>
                  <a:close/>
                </a:path>
              </a:pathLst>
            </a:custGeom>
            <a:solidFill>
              <a:srgbClr val="814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4" name="任意多边形 203">
              <a:extLst>
                <a:ext uri="{FF2B5EF4-FFF2-40B4-BE49-F238E27FC236}">
                  <a16:creationId xmlns:a16="http://schemas.microsoft.com/office/drawing/2014/main" id="{F99D7ECF-D848-4482-8938-3116948A991E}"/>
                </a:ext>
              </a:extLst>
            </p:cNvPr>
            <p:cNvSpPr/>
            <p:nvPr/>
          </p:nvSpPr>
          <p:spPr bwMode="auto">
            <a:xfrm>
              <a:off x="5721351" y="3286126"/>
              <a:ext cx="88900" cy="55563"/>
            </a:xfrm>
            <a:custGeom>
              <a:avLst/>
              <a:gdLst>
                <a:gd name="T0" fmla="*/ 34 w 34"/>
                <a:gd name="T1" fmla="*/ 14 h 21"/>
                <a:gd name="T2" fmla="*/ 32 w 34"/>
                <a:gd name="T3" fmla="*/ 21 h 21"/>
                <a:gd name="T4" fmla="*/ 31 w 34"/>
                <a:gd name="T5" fmla="*/ 21 h 21"/>
                <a:gd name="T6" fmla="*/ 0 w 34"/>
                <a:gd name="T7" fmla="*/ 10 h 21"/>
                <a:gd name="T8" fmla="*/ 0 w 34"/>
                <a:gd name="T9" fmla="*/ 10 h 21"/>
                <a:gd name="T10" fmla="*/ 0 w 34"/>
                <a:gd name="T11" fmla="*/ 0 h 21"/>
                <a:gd name="T12" fmla="*/ 16 w 34"/>
                <a:gd name="T13" fmla="*/ 2 h 21"/>
                <a:gd name="T14" fmla="*/ 28 w 34"/>
                <a:gd name="T15" fmla="*/ 8 h 21"/>
                <a:gd name="T16" fmla="*/ 34 w 34"/>
                <a:gd name="T1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1">
                  <a:moveTo>
                    <a:pt x="34" y="14"/>
                  </a:moveTo>
                  <a:cubicBezTo>
                    <a:pt x="33" y="16"/>
                    <a:pt x="33" y="18"/>
                    <a:pt x="32" y="21"/>
                  </a:cubicBezTo>
                  <a:cubicBezTo>
                    <a:pt x="32" y="21"/>
                    <a:pt x="32" y="21"/>
                    <a:pt x="31" y="21"/>
                  </a:cubicBezTo>
                  <a:cubicBezTo>
                    <a:pt x="20" y="21"/>
                    <a:pt x="8" y="18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7"/>
                    <a:pt x="0" y="3"/>
                    <a:pt x="0" y="0"/>
                  </a:cubicBezTo>
                  <a:cubicBezTo>
                    <a:pt x="5" y="1"/>
                    <a:pt x="10" y="1"/>
                    <a:pt x="16" y="2"/>
                  </a:cubicBezTo>
                  <a:cubicBezTo>
                    <a:pt x="19" y="5"/>
                    <a:pt x="24" y="7"/>
                    <a:pt x="28" y="8"/>
                  </a:cubicBezTo>
                  <a:cubicBezTo>
                    <a:pt x="30" y="10"/>
                    <a:pt x="32" y="12"/>
                    <a:pt x="34" y="14"/>
                  </a:cubicBezTo>
                  <a:close/>
                </a:path>
              </a:pathLst>
            </a:custGeom>
            <a:solidFill>
              <a:srgbClr val="E6A5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5" name="任意多边形 204">
              <a:extLst>
                <a:ext uri="{FF2B5EF4-FFF2-40B4-BE49-F238E27FC236}">
                  <a16:creationId xmlns:a16="http://schemas.microsoft.com/office/drawing/2014/main" id="{50F6522C-FCDE-4EBC-900F-F44A0FADDF60}"/>
                </a:ext>
              </a:extLst>
            </p:cNvPr>
            <p:cNvSpPr/>
            <p:nvPr/>
          </p:nvSpPr>
          <p:spPr bwMode="auto">
            <a:xfrm>
              <a:off x="5578476" y="4554538"/>
              <a:ext cx="206375" cy="200025"/>
            </a:xfrm>
            <a:custGeom>
              <a:avLst/>
              <a:gdLst>
                <a:gd name="T0" fmla="*/ 35 w 79"/>
                <a:gd name="T1" fmla="*/ 19 h 77"/>
                <a:gd name="T2" fmla="*/ 38 w 79"/>
                <a:gd name="T3" fmla="*/ 9 h 77"/>
                <a:gd name="T4" fmla="*/ 61 w 79"/>
                <a:gd name="T5" fmla="*/ 0 h 77"/>
                <a:gd name="T6" fmla="*/ 79 w 79"/>
                <a:gd name="T7" fmla="*/ 15 h 77"/>
                <a:gd name="T8" fmla="*/ 11 w 79"/>
                <a:gd name="T9" fmla="*/ 77 h 77"/>
                <a:gd name="T10" fmla="*/ 10 w 79"/>
                <a:gd name="T11" fmla="*/ 77 h 77"/>
                <a:gd name="T12" fmla="*/ 0 w 79"/>
                <a:gd name="T13" fmla="*/ 63 h 77"/>
                <a:gd name="T14" fmla="*/ 6 w 79"/>
                <a:gd name="T15" fmla="*/ 16 h 77"/>
                <a:gd name="T16" fmla="*/ 6 w 79"/>
                <a:gd name="T17" fmla="*/ 16 h 77"/>
                <a:gd name="T18" fmla="*/ 35 w 79"/>
                <a:gd name="T19" fmla="*/ 1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77">
                  <a:moveTo>
                    <a:pt x="35" y="19"/>
                  </a:moveTo>
                  <a:cubicBezTo>
                    <a:pt x="36" y="16"/>
                    <a:pt x="37" y="12"/>
                    <a:pt x="38" y="9"/>
                  </a:cubicBezTo>
                  <a:cubicBezTo>
                    <a:pt x="45" y="3"/>
                    <a:pt x="53" y="0"/>
                    <a:pt x="61" y="0"/>
                  </a:cubicBezTo>
                  <a:cubicBezTo>
                    <a:pt x="71" y="0"/>
                    <a:pt x="79" y="5"/>
                    <a:pt x="79" y="15"/>
                  </a:cubicBezTo>
                  <a:cubicBezTo>
                    <a:pt x="79" y="50"/>
                    <a:pt x="26" y="77"/>
                    <a:pt x="11" y="7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4" y="75"/>
                    <a:pt x="0" y="70"/>
                    <a:pt x="0" y="63"/>
                  </a:cubicBezTo>
                  <a:cubicBezTo>
                    <a:pt x="0" y="47"/>
                    <a:pt x="3" y="3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8" y="37"/>
                    <a:pt x="34" y="26"/>
                    <a:pt x="35" y="19"/>
                  </a:cubicBezTo>
                  <a:close/>
                </a:path>
              </a:pathLst>
            </a:custGeom>
            <a:solidFill>
              <a:srgbClr val="A68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6" name="任意多边形 205">
              <a:extLst>
                <a:ext uri="{FF2B5EF4-FFF2-40B4-BE49-F238E27FC236}">
                  <a16:creationId xmlns:a16="http://schemas.microsoft.com/office/drawing/2014/main" id="{2502F4A9-C289-4B33-8A38-E5AC81210144}"/>
                </a:ext>
              </a:extLst>
            </p:cNvPr>
            <p:cNvSpPr/>
            <p:nvPr/>
          </p:nvSpPr>
          <p:spPr bwMode="auto">
            <a:xfrm>
              <a:off x="5575301" y="3411538"/>
              <a:ext cx="65088" cy="371475"/>
            </a:xfrm>
            <a:custGeom>
              <a:avLst/>
              <a:gdLst>
                <a:gd name="T0" fmla="*/ 25 w 25"/>
                <a:gd name="T1" fmla="*/ 121 h 142"/>
                <a:gd name="T2" fmla="*/ 24 w 25"/>
                <a:gd name="T3" fmla="*/ 142 h 142"/>
                <a:gd name="T4" fmla="*/ 24 w 25"/>
                <a:gd name="T5" fmla="*/ 142 h 142"/>
                <a:gd name="T6" fmla="*/ 0 w 25"/>
                <a:gd name="T7" fmla="*/ 59 h 142"/>
                <a:gd name="T8" fmla="*/ 18 w 25"/>
                <a:gd name="T9" fmla="*/ 0 h 142"/>
                <a:gd name="T10" fmla="*/ 14 w 25"/>
                <a:gd name="T11" fmla="*/ 22 h 142"/>
                <a:gd name="T12" fmla="*/ 25 w 25"/>
                <a:gd name="T13" fmla="*/ 12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42">
                  <a:moveTo>
                    <a:pt x="25" y="121"/>
                  </a:moveTo>
                  <a:cubicBezTo>
                    <a:pt x="25" y="128"/>
                    <a:pt x="24" y="135"/>
                    <a:pt x="24" y="142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9" y="120"/>
                    <a:pt x="0" y="89"/>
                    <a:pt x="0" y="59"/>
                  </a:cubicBezTo>
                  <a:cubicBezTo>
                    <a:pt x="0" y="37"/>
                    <a:pt x="6" y="15"/>
                    <a:pt x="18" y="0"/>
                  </a:cubicBezTo>
                  <a:cubicBezTo>
                    <a:pt x="15" y="7"/>
                    <a:pt x="14" y="15"/>
                    <a:pt x="14" y="22"/>
                  </a:cubicBezTo>
                  <a:cubicBezTo>
                    <a:pt x="14" y="45"/>
                    <a:pt x="25" y="79"/>
                    <a:pt x="25" y="121"/>
                  </a:cubicBezTo>
                  <a:close/>
                </a:path>
              </a:pathLst>
            </a:custGeom>
            <a:solidFill>
              <a:srgbClr val="F2A3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7" name="任意多边形 206">
              <a:extLst>
                <a:ext uri="{FF2B5EF4-FFF2-40B4-BE49-F238E27FC236}">
                  <a16:creationId xmlns:a16="http://schemas.microsoft.com/office/drawing/2014/main" id="{6248811E-F902-4EE6-A7E8-29D1D7AAE065}"/>
                </a:ext>
              </a:extLst>
            </p:cNvPr>
            <p:cNvSpPr/>
            <p:nvPr/>
          </p:nvSpPr>
          <p:spPr bwMode="auto">
            <a:xfrm>
              <a:off x="5573714" y="2919413"/>
              <a:ext cx="350838" cy="390525"/>
            </a:xfrm>
            <a:custGeom>
              <a:avLst/>
              <a:gdLst>
                <a:gd name="T0" fmla="*/ 133 w 135"/>
                <a:gd name="T1" fmla="*/ 44 h 150"/>
                <a:gd name="T2" fmla="*/ 126 w 135"/>
                <a:gd name="T3" fmla="*/ 62 h 150"/>
                <a:gd name="T4" fmla="*/ 126 w 135"/>
                <a:gd name="T5" fmla="*/ 62 h 150"/>
                <a:gd name="T6" fmla="*/ 125 w 135"/>
                <a:gd name="T7" fmla="*/ 62 h 150"/>
                <a:gd name="T8" fmla="*/ 109 w 135"/>
                <a:gd name="T9" fmla="*/ 77 h 150"/>
                <a:gd name="T10" fmla="*/ 84 w 135"/>
                <a:gd name="T11" fmla="*/ 149 h 150"/>
                <a:gd name="T12" fmla="*/ 78 w 135"/>
                <a:gd name="T13" fmla="*/ 150 h 150"/>
                <a:gd name="T14" fmla="*/ 64 w 135"/>
                <a:gd name="T15" fmla="*/ 148 h 150"/>
                <a:gd name="T16" fmla="*/ 49 w 135"/>
                <a:gd name="T17" fmla="*/ 150 h 150"/>
                <a:gd name="T18" fmla="*/ 42 w 135"/>
                <a:gd name="T19" fmla="*/ 149 h 150"/>
                <a:gd name="T20" fmla="*/ 7 w 135"/>
                <a:gd name="T21" fmla="*/ 111 h 150"/>
                <a:gd name="T22" fmla="*/ 13 w 135"/>
                <a:gd name="T23" fmla="*/ 42 h 150"/>
                <a:gd name="T24" fmla="*/ 36 w 135"/>
                <a:gd name="T25" fmla="*/ 19 h 150"/>
                <a:gd name="T26" fmla="*/ 57 w 135"/>
                <a:gd name="T27" fmla="*/ 10 h 150"/>
                <a:gd name="T28" fmla="*/ 133 w 135"/>
                <a:gd name="T29" fmla="*/ 4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5" h="150">
                  <a:moveTo>
                    <a:pt x="133" y="44"/>
                  </a:moveTo>
                  <a:cubicBezTo>
                    <a:pt x="135" y="52"/>
                    <a:pt x="135" y="59"/>
                    <a:pt x="126" y="62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16" y="64"/>
                    <a:pt x="115" y="75"/>
                    <a:pt x="109" y="77"/>
                  </a:cubicBezTo>
                  <a:cubicBezTo>
                    <a:pt x="80" y="85"/>
                    <a:pt x="122" y="137"/>
                    <a:pt x="84" y="149"/>
                  </a:cubicBezTo>
                  <a:cubicBezTo>
                    <a:pt x="82" y="149"/>
                    <a:pt x="80" y="150"/>
                    <a:pt x="78" y="150"/>
                  </a:cubicBezTo>
                  <a:cubicBezTo>
                    <a:pt x="73" y="150"/>
                    <a:pt x="68" y="149"/>
                    <a:pt x="64" y="148"/>
                  </a:cubicBezTo>
                  <a:cubicBezTo>
                    <a:pt x="58" y="148"/>
                    <a:pt x="54" y="150"/>
                    <a:pt x="49" y="150"/>
                  </a:cubicBezTo>
                  <a:cubicBezTo>
                    <a:pt x="47" y="150"/>
                    <a:pt x="44" y="150"/>
                    <a:pt x="42" y="149"/>
                  </a:cubicBezTo>
                  <a:cubicBezTo>
                    <a:pt x="24" y="144"/>
                    <a:pt x="12" y="129"/>
                    <a:pt x="7" y="111"/>
                  </a:cubicBezTo>
                  <a:cubicBezTo>
                    <a:pt x="1" y="91"/>
                    <a:pt x="0" y="64"/>
                    <a:pt x="13" y="42"/>
                  </a:cubicBezTo>
                  <a:cubicBezTo>
                    <a:pt x="18" y="33"/>
                    <a:pt x="26" y="25"/>
                    <a:pt x="36" y="19"/>
                  </a:cubicBezTo>
                  <a:cubicBezTo>
                    <a:pt x="42" y="15"/>
                    <a:pt x="49" y="12"/>
                    <a:pt x="57" y="10"/>
                  </a:cubicBezTo>
                  <a:cubicBezTo>
                    <a:pt x="87" y="0"/>
                    <a:pt x="124" y="16"/>
                    <a:pt x="133" y="44"/>
                  </a:cubicBezTo>
                  <a:close/>
                </a:path>
              </a:pathLst>
            </a:custGeom>
            <a:solidFill>
              <a:srgbClr val="E06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8" name="任意多边形 207">
              <a:extLst>
                <a:ext uri="{FF2B5EF4-FFF2-40B4-BE49-F238E27FC236}">
                  <a16:creationId xmlns:a16="http://schemas.microsoft.com/office/drawing/2014/main" id="{53EA1EFF-EE0C-4DEF-9442-8BD42E6A1873}"/>
                </a:ext>
              </a:extLst>
            </p:cNvPr>
            <p:cNvSpPr/>
            <p:nvPr/>
          </p:nvSpPr>
          <p:spPr bwMode="auto">
            <a:xfrm>
              <a:off x="5776914" y="3081338"/>
              <a:ext cx="147638" cy="244475"/>
            </a:xfrm>
            <a:custGeom>
              <a:avLst/>
              <a:gdLst>
                <a:gd name="T0" fmla="*/ 47 w 57"/>
                <a:gd name="T1" fmla="*/ 0 h 94"/>
                <a:gd name="T2" fmla="*/ 50 w 57"/>
                <a:gd name="T3" fmla="*/ 7 h 94"/>
                <a:gd name="T4" fmla="*/ 31 w 57"/>
                <a:gd name="T5" fmla="*/ 92 h 94"/>
                <a:gd name="T6" fmla="*/ 7 w 57"/>
                <a:gd name="T7" fmla="*/ 91 h 94"/>
                <a:gd name="T8" fmla="*/ 7 w 57"/>
                <a:gd name="T9" fmla="*/ 91 h 94"/>
                <a:gd name="T10" fmla="*/ 0 w 57"/>
                <a:gd name="T11" fmla="*/ 88 h 94"/>
                <a:gd name="T12" fmla="*/ 6 w 57"/>
                <a:gd name="T13" fmla="*/ 87 h 94"/>
                <a:gd name="T14" fmla="*/ 31 w 57"/>
                <a:gd name="T15" fmla="*/ 15 h 94"/>
                <a:gd name="T16" fmla="*/ 47 w 57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94">
                  <a:moveTo>
                    <a:pt x="47" y="0"/>
                  </a:moveTo>
                  <a:cubicBezTo>
                    <a:pt x="48" y="2"/>
                    <a:pt x="49" y="5"/>
                    <a:pt x="50" y="7"/>
                  </a:cubicBezTo>
                  <a:cubicBezTo>
                    <a:pt x="57" y="30"/>
                    <a:pt x="57" y="84"/>
                    <a:pt x="31" y="92"/>
                  </a:cubicBezTo>
                  <a:cubicBezTo>
                    <a:pt x="24" y="94"/>
                    <a:pt x="16" y="94"/>
                    <a:pt x="7" y="91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4" y="90"/>
                    <a:pt x="2" y="89"/>
                    <a:pt x="0" y="88"/>
                  </a:cubicBezTo>
                  <a:cubicBezTo>
                    <a:pt x="2" y="88"/>
                    <a:pt x="4" y="87"/>
                    <a:pt x="6" y="87"/>
                  </a:cubicBezTo>
                  <a:cubicBezTo>
                    <a:pt x="44" y="75"/>
                    <a:pt x="2" y="23"/>
                    <a:pt x="31" y="15"/>
                  </a:cubicBezTo>
                  <a:cubicBezTo>
                    <a:pt x="37" y="13"/>
                    <a:pt x="38" y="2"/>
                    <a:pt x="47" y="0"/>
                  </a:cubicBezTo>
                  <a:close/>
                </a:path>
              </a:pathLst>
            </a:custGeom>
            <a:solidFill>
              <a:srgbClr val="E6A5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" name="任意多边形 208">
              <a:extLst>
                <a:ext uri="{FF2B5EF4-FFF2-40B4-BE49-F238E27FC236}">
                  <a16:creationId xmlns:a16="http://schemas.microsoft.com/office/drawing/2014/main" id="{DDFF6E9A-6F2B-4966-9C37-BD4B91F1EE35}"/>
                </a:ext>
              </a:extLst>
            </p:cNvPr>
            <p:cNvSpPr/>
            <p:nvPr/>
          </p:nvSpPr>
          <p:spPr bwMode="auto">
            <a:xfrm>
              <a:off x="7510464" y="4010026"/>
              <a:ext cx="295275" cy="152400"/>
            </a:xfrm>
            <a:custGeom>
              <a:avLst/>
              <a:gdLst>
                <a:gd name="T0" fmla="*/ 56 w 113"/>
                <a:gd name="T1" fmla="*/ 0 h 59"/>
                <a:gd name="T2" fmla="*/ 20 w 113"/>
                <a:gd name="T3" fmla="*/ 8 h 59"/>
                <a:gd name="T4" fmla="*/ 20 w 113"/>
                <a:gd name="T5" fmla="*/ 50 h 59"/>
                <a:gd name="T6" fmla="*/ 56 w 113"/>
                <a:gd name="T7" fmla="*/ 59 h 59"/>
                <a:gd name="T8" fmla="*/ 93 w 113"/>
                <a:gd name="T9" fmla="*/ 50 h 59"/>
                <a:gd name="T10" fmla="*/ 93 w 113"/>
                <a:gd name="T11" fmla="*/ 8 h 59"/>
                <a:gd name="T12" fmla="*/ 56 w 113"/>
                <a:gd name="T1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59">
                  <a:moveTo>
                    <a:pt x="56" y="0"/>
                  </a:moveTo>
                  <a:cubicBezTo>
                    <a:pt x="43" y="0"/>
                    <a:pt x="30" y="3"/>
                    <a:pt x="20" y="8"/>
                  </a:cubicBezTo>
                  <a:cubicBezTo>
                    <a:pt x="0" y="20"/>
                    <a:pt x="0" y="39"/>
                    <a:pt x="20" y="50"/>
                  </a:cubicBezTo>
                  <a:cubicBezTo>
                    <a:pt x="30" y="56"/>
                    <a:pt x="43" y="59"/>
                    <a:pt x="56" y="59"/>
                  </a:cubicBezTo>
                  <a:cubicBezTo>
                    <a:pt x="70" y="59"/>
                    <a:pt x="83" y="56"/>
                    <a:pt x="93" y="50"/>
                  </a:cubicBezTo>
                  <a:cubicBezTo>
                    <a:pt x="113" y="39"/>
                    <a:pt x="113" y="20"/>
                    <a:pt x="93" y="8"/>
                  </a:cubicBezTo>
                  <a:cubicBezTo>
                    <a:pt x="83" y="3"/>
                    <a:pt x="70" y="0"/>
                    <a:pt x="56" y="0"/>
                  </a:cubicBezTo>
                </a:path>
              </a:pathLst>
            </a:custGeom>
            <a:solidFill>
              <a:srgbClr val="9031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" name="任意多边形 209">
              <a:extLst>
                <a:ext uri="{FF2B5EF4-FFF2-40B4-BE49-F238E27FC236}">
                  <a16:creationId xmlns:a16="http://schemas.microsoft.com/office/drawing/2014/main" id="{CC0DD6BB-B08E-4344-AEC2-E02DB3CF60CE}"/>
                </a:ext>
              </a:extLst>
            </p:cNvPr>
            <p:cNvSpPr/>
            <p:nvPr/>
          </p:nvSpPr>
          <p:spPr bwMode="auto">
            <a:xfrm>
              <a:off x="7769226" y="2867026"/>
              <a:ext cx="4763" cy="3175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1 h 1"/>
                <a:gd name="T4" fmla="*/ 0 w 2"/>
                <a:gd name="T5" fmla="*/ 0 h 1"/>
                <a:gd name="T6" fmla="*/ 0 w 2"/>
                <a:gd name="T7" fmla="*/ 0 h 1"/>
                <a:gd name="T8" fmla="*/ 0 w 2"/>
                <a:gd name="T9" fmla="*/ 0 h 1"/>
                <a:gd name="T10" fmla="*/ 2 w 2"/>
                <a:gd name="T11" fmla="*/ 1 h 1"/>
                <a:gd name="T12" fmla="*/ 2 w 2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" name="任意多边形 210">
              <a:extLst>
                <a:ext uri="{FF2B5EF4-FFF2-40B4-BE49-F238E27FC236}">
                  <a16:creationId xmlns:a16="http://schemas.microsoft.com/office/drawing/2014/main" id="{B1146448-1860-43BA-B82B-CAD5C039D988}"/>
                </a:ext>
              </a:extLst>
            </p:cNvPr>
            <p:cNvSpPr/>
            <p:nvPr/>
          </p:nvSpPr>
          <p:spPr bwMode="auto">
            <a:xfrm>
              <a:off x="7542213" y="3394075"/>
              <a:ext cx="219075" cy="122237"/>
            </a:xfrm>
            <a:custGeom>
              <a:avLst/>
              <a:gdLst>
                <a:gd name="T0" fmla="*/ 8 w 84"/>
                <a:gd name="T1" fmla="*/ 34 h 47"/>
                <a:gd name="T2" fmla="*/ 0 w 84"/>
                <a:gd name="T3" fmla="*/ 20 h 47"/>
                <a:gd name="T4" fmla="*/ 0 w 84"/>
                <a:gd name="T5" fmla="*/ 0 h 47"/>
                <a:gd name="T6" fmla="*/ 4 w 84"/>
                <a:gd name="T7" fmla="*/ 10 h 47"/>
                <a:gd name="T8" fmla="*/ 72 w 84"/>
                <a:gd name="T9" fmla="*/ 17 h 47"/>
                <a:gd name="T10" fmla="*/ 84 w 84"/>
                <a:gd name="T11" fmla="*/ 0 h 47"/>
                <a:gd name="T12" fmla="*/ 84 w 84"/>
                <a:gd name="T13" fmla="*/ 0 h 47"/>
                <a:gd name="T14" fmla="*/ 84 w 84"/>
                <a:gd name="T15" fmla="*/ 20 h 47"/>
                <a:gd name="T16" fmla="*/ 72 w 84"/>
                <a:gd name="T17" fmla="*/ 37 h 47"/>
                <a:gd name="T18" fmla="*/ 8 w 84"/>
                <a:gd name="T19" fmla="*/ 3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47">
                  <a:moveTo>
                    <a:pt x="8" y="34"/>
                  </a:moveTo>
                  <a:cubicBezTo>
                    <a:pt x="4" y="30"/>
                    <a:pt x="0" y="25"/>
                    <a:pt x="0" y="20"/>
                  </a:cubicBezTo>
                  <a:cubicBezTo>
                    <a:pt x="0" y="13"/>
                    <a:pt x="0" y="7"/>
                    <a:pt x="0" y="0"/>
                  </a:cubicBezTo>
                  <a:cubicBezTo>
                    <a:pt x="0" y="4"/>
                    <a:pt x="2" y="7"/>
                    <a:pt x="4" y="10"/>
                  </a:cubicBezTo>
                  <a:cubicBezTo>
                    <a:pt x="15" y="26"/>
                    <a:pt x="51" y="29"/>
                    <a:pt x="72" y="17"/>
                  </a:cubicBezTo>
                  <a:cubicBezTo>
                    <a:pt x="78" y="14"/>
                    <a:pt x="84" y="8"/>
                    <a:pt x="8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7"/>
                    <a:pt x="84" y="13"/>
                    <a:pt x="84" y="20"/>
                  </a:cubicBezTo>
                  <a:cubicBezTo>
                    <a:pt x="84" y="27"/>
                    <a:pt x="78" y="33"/>
                    <a:pt x="72" y="37"/>
                  </a:cubicBezTo>
                  <a:cubicBezTo>
                    <a:pt x="53" y="47"/>
                    <a:pt x="23" y="46"/>
                    <a:pt x="8" y="34"/>
                  </a:cubicBezTo>
                </a:path>
              </a:pathLst>
            </a:custGeom>
            <a:solidFill>
              <a:srgbClr val="B190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" name="任意多边形 211">
              <a:extLst>
                <a:ext uri="{FF2B5EF4-FFF2-40B4-BE49-F238E27FC236}">
                  <a16:creationId xmlns:a16="http://schemas.microsoft.com/office/drawing/2014/main" id="{3EE69F7B-3C3A-4912-BF5E-FBC02E0A7AB5}"/>
                </a:ext>
              </a:extLst>
            </p:cNvPr>
            <p:cNvSpPr/>
            <p:nvPr/>
          </p:nvSpPr>
          <p:spPr bwMode="auto">
            <a:xfrm>
              <a:off x="7542213" y="3389313"/>
              <a:ext cx="222250" cy="79375"/>
            </a:xfrm>
            <a:custGeom>
              <a:avLst/>
              <a:gdLst>
                <a:gd name="T0" fmla="*/ 4 w 85"/>
                <a:gd name="T1" fmla="*/ 7 h 31"/>
                <a:gd name="T2" fmla="*/ 4 w 85"/>
                <a:gd name="T3" fmla="*/ 7 h 31"/>
                <a:gd name="T4" fmla="*/ 8 w 85"/>
                <a:gd name="T5" fmla="*/ 13 h 31"/>
                <a:gd name="T6" fmla="*/ 70 w 85"/>
                <a:gd name="T7" fmla="*/ 18 h 31"/>
                <a:gd name="T8" fmla="*/ 81 w 85"/>
                <a:gd name="T9" fmla="*/ 8 h 31"/>
                <a:gd name="T10" fmla="*/ 84 w 85"/>
                <a:gd name="T11" fmla="*/ 0 h 31"/>
                <a:gd name="T12" fmla="*/ 84 w 85"/>
                <a:gd name="T13" fmla="*/ 1 h 31"/>
                <a:gd name="T14" fmla="*/ 72 w 85"/>
                <a:gd name="T15" fmla="*/ 19 h 31"/>
                <a:gd name="T16" fmla="*/ 4 w 85"/>
                <a:gd name="T17" fmla="*/ 12 h 31"/>
                <a:gd name="T18" fmla="*/ 1 w 85"/>
                <a:gd name="T19" fmla="*/ 0 h 31"/>
                <a:gd name="T20" fmla="*/ 1 w 85"/>
                <a:gd name="T21" fmla="*/ 0 h 31"/>
                <a:gd name="T22" fmla="*/ 4 w 85"/>
                <a:gd name="T23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31">
                  <a:moveTo>
                    <a:pt x="4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5" y="9"/>
                    <a:pt x="6" y="11"/>
                    <a:pt x="8" y="13"/>
                  </a:cubicBezTo>
                  <a:cubicBezTo>
                    <a:pt x="20" y="26"/>
                    <a:pt x="52" y="29"/>
                    <a:pt x="70" y="18"/>
                  </a:cubicBezTo>
                  <a:cubicBezTo>
                    <a:pt x="75" y="16"/>
                    <a:pt x="79" y="12"/>
                    <a:pt x="81" y="8"/>
                  </a:cubicBezTo>
                  <a:cubicBezTo>
                    <a:pt x="81" y="7"/>
                    <a:pt x="82" y="5"/>
                    <a:pt x="84" y="0"/>
                  </a:cubicBezTo>
                  <a:cubicBezTo>
                    <a:pt x="84" y="1"/>
                    <a:pt x="84" y="1"/>
                    <a:pt x="84" y="1"/>
                  </a:cubicBezTo>
                  <a:cubicBezTo>
                    <a:pt x="85" y="9"/>
                    <a:pt x="79" y="15"/>
                    <a:pt x="72" y="19"/>
                  </a:cubicBezTo>
                  <a:cubicBezTo>
                    <a:pt x="51" y="31"/>
                    <a:pt x="15" y="28"/>
                    <a:pt x="4" y="12"/>
                  </a:cubicBezTo>
                  <a:cubicBezTo>
                    <a:pt x="1" y="8"/>
                    <a:pt x="0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2"/>
                    <a:pt x="3" y="5"/>
                    <a:pt x="4" y="7"/>
                  </a:cubicBezTo>
                </a:path>
              </a:pathLst>
            </a:custGeom>
            <a:solidFill>
              <a:srgbClr val="C0AD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" name="任意多边形 212">
              <a:extLst>
                <a:ext uri="{FF2B5EF4-FFF2-40B4-BE49-F238E27FC236}">
                  <a16:creationId xmlns:a16="http://schemas.microsoft.com/office/drawing/2014/main" id="{2E7BC55C-2E19-4875-B4E0-A04D04FFAD28}"/>
                </a:ext>
              </a:extLst>
            </p:cNvPr>
            <p:cNvSpPr/>
            <p:nvPr/>
          </p:nvSpPr>
          <p:spPr bwMode="auto">
            <a:xfrm>
              <a:off x="7558088" y="3521075"/>
              <a:ext cx="192088" cy="96837"/>
            </a:xfrm>
            <a:custGeom>
              <a:avLst/>
              <a:gdLst>
                <a:gd name="T0" fmla="*/ 61 w 74"/>
                <a:gd name="T1" fmla="*/ 24 h 37"/>
                <a:gd name="T2" fmla="*/ 4 w 74"/>
                <a:gd name="T3" fmla="*/ 24 h 37"/>
                <a:gd name="T4" fmla="*/ 5 w 74"/>
                <a:gd name="T5" fmla="*/ 11 h 37"/>
                <a:gd name="T6" fmla="*/ 61 w 74"/>
                <a:gd name="T7" fmla="*/ 9 h 37"/>
                <a:gd name="T8" fmla="*/ 69 w 74"/>
                <a:gd name="T9" fmla="*/ 0 h 37"/>
                <a:gd name="T10" fmla="*/ 61 w 74"/>
                <a:gd name="T11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37">
                  <a:moveTo>
                    <a:pt x="61" y="24"/>
                  </a:moveTo>
                  <a:cubicBezTo>
                    <a:pt x="43" y="37"/>
                    <a:pt x="12" y="35"/>
                    <a:pt x="4" y="24"/>
                  </a:cubicBezTo>
                  <a:cubicBezTo>
                    <a:pt x="0" y="20"/>
                    <a:pt x="1" y="15"/>
                    <a:pt x="5" y="11"/>
                  </a:cubicBezTo>
                  <a:cubicBezTo>
                    <a:pt x="16" y="21"/>
                    <a:pt x="44" y="22"/>
                    <a:pt x="61" y="9"/>
                  </a:cubicBezTo>
                  <a:cubicBezTo>
                    <a:pt x="64" y="7"/>
                    <a:pt x="67" y="4"/>
                    <a:pt x="69" y="0"/>
                  </a:cubicBezTo>
                  <a:cubicBezTo>
                    <a:pt x="74" y="9"/>
                    <a:pt x="69" y="18"/>
                    <a:pt x="61" y="24"/>
                  </a:cubicBezTo>
                </a:path>
              </a:pathLst>
            </a:custGeom>
            <a:solidFill>
              <a:srgbClr val="C0AD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4" name="任意多边形 213">
              <a:extLst>
                <a:ext uri="{FF2B5EF4-FFF2-40B4-BE49-F238E27FC236}">
                  <a16:creationId xmlns:a16="http://schemas.microsoft.com/office/drawing/2014/main" id="{3C3F9B53-9EFA-4746-A81F-7FE75F29E255}"/>
                </a:ext>
              </a:extLst>
            </p:cNvPr>
            <p:cNvSpPr/>
            <p:nvPr/>
          </p:nvSpPr>
          <p:spPr bwMode="auto">
            <a:xfrm>
              <a:off x="7559676" y="3581400"/>
              <a:ext cx="190500" cy="92075"/>
            </a:xfrm>
            <a:custGeom>
              <a:avLst/>
              <a:gdLst>
                <a:gd name="T0" fmla="*/ 2 w 73"/>
                <a:gd name="T1" fmla="*/ 13 h 35"/>
                <a:gd name="T2" fmla="*/ 4 w 73"/>
                <a:gd name="T3" fmla="*/ 11 h 35"/>
                <a:gd name="T4" fmla="*/ 60 w 73"/>
                <a:gd name="T5" fmla="*/ 9 h 35"/>
                <a:gd name="T6" fmla="*/ 68 w 73"/>
                <a:gd name="T7" fmla="*/ 0 h 35"/>
                <a:gd name="T8" fmla="*/ 60 w 73"/>
                <a:gd name="T9" fmla="*/ 24 h 35"/>
                <a:gd name="T10" fmla="*/ 17 w 73"/>
                <a:gd name="T11" fmla="*/ 32 h 35"/>
                <a:gd name="T12" fmla="*/ 0 w 73"/>
                <a:gd name="T13" fmla="*/ 19 h 35"/>
                <a:gd name="T14" fmla="*/ 0 w 73"/>
                <a:gd name="T15" fmla="*/ 19 h 35"/>
                <a:gd name="T16" fmla="*/ 2 w 73"/>
                <a:gd name="T17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35">
                  <a:moveTo>
                    <a:pt x="2" y="13"/>
                  </a:moveTo>
                  <a:cubicBezTo>
                    <a:pt x="3" y="12"/>
                    <a:pt x="4" y="11"/>
                    <a:pt x="4" y="11"/>
                  </a:cubicBezTo>
                  <a:cubicBezTo>
                    <a:pt x="14" y="21"/>
                    <a:pt x="43" y="22"/>
                    <a:pt x="60" y="9"/>
                  </a:cubicBezTo>
                  <a:cubicBezTo>
                    <a:pt x="63" y="7"/>
                    <a:pt x="66" y="3"/>
                    <a:pt x="68" y="0"/>
                  </a:cubicBezTo>
                  <a:cubicBezTo>
                    <a:pt x="73" y="9"/>
                    <a:pt x="68" y="18"/>
                    <a:pt x="60" y="24"/>
                  </a:cubicBezTo>
                  <a:cubicBezTo>
                    <a:pt x="48" y="32"/>
                    <a:pt x="31" y="35"/>
                    <a:pt x="17" y="32"/>
                  </a:cubicBezTo>
                  <a:cubicBezTo>
                    <a:pt x="10" y="30"/>
                    <a:pt x="1" y="26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7"/>
                    <a:pt x="1" y="15"/>
                    <a:pt x="2" y="13"/>
                  </a:cubicBezTo>
                </a:path>
              </a:pathLst>
            </a:custGeom>
            <a:solidFill>
              <a:srgbClr val="C0AD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5" name="任意多边形 214">
              <a:extLst>
                <a:ext uri="{FF2B5EF4-FFF2-40B4-BE49-F238E27FC236}">
                  <a16:creationId xmlns:a16="http://schemas.microsoft.com/office/drawing/2014/main" id="{79176683-A3F9-40CC-BD64-A6BFD287542E}"/>
                </a:ext>
              </a:extLst>
            </p:cNvPr>
            <p:cNvSpPr/>
            <p:nvPr/>
          </p:nvSpPr>
          <p:spPr bwMode="auto">
            <a:xfrm>
              <a:off x="7740651" y="3630613"/>
              <a:ext cx="1588" cy="15875"/>
            </a:xfrm>
            <a:custGeom>
              <a:avLst/>
              <a:gdLst>
                <a:gd name="T0" fmla="*/ 0 w 1"/>
                <a:gd name="T1" fmla="*/ 6 h 6"/>
                <a:gd name="T2" fmla="*/ 0 w 1"/>
                <a:gd name="T3" fmla="*/ 6 h 6"/>
                <a:gd name="T4" fmla="*/ 0 w 1"/>
                <a:gd name="T5" fmla="*/ 6 h 6"/>
                <a:gd name="T6" fmla="*/ 1 w 1"/>
                <a:gd name="T7" fmla="*/ 0 h 6"/>
                <a:gd name="T8" fmla="*/ 1 w 1"/>
                <a:gd name="T9" fmla="*/ 0 h 6"/>
                <a:gd name="T10" fmla="*/ 1 w 1"/>
                <a:gd name="T11" fmla="*/ 0 h 6"/>
                <a:gd name="T12" fmla="*/ 1 w 1"/>
                <a:gd name="T13" fmla="*/ 0 h 6"/>
                <a:gd name="T14" fmla="*/ 0 w 1"/>
                <a:gd name="T15" fmla="*/ 6 h 6"/>
                <a:gd name="T16" fmla="*/ 0 w 1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6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4"/>
                    <a:pt x="1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1" y="4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6" name="任意多边形 215">
              <a:extLst>
                <a:ext uri="{FF2B5EF4-FFF2-40B4-BE49-F238E27FC236}">
                  <a16:creationId xmlns:a16="http://schemas.microsoft.com/office/drawing/2014/main" id="{718431F0-E1FF-447A-87C4-3A459E912C44}"/>
                </a:ext>
              </a:extLst>
            </p:cNvPr>
            <p:cNvSpPr/>
            <p:nvPr/>
          </p:nvSpPr>
          <p:spPr bwMode="auto">
            <a:xfrm>
              <a:off x="7742238" y="3630613"/>
              <a:ext cx="0" cy="3175"/>
            </a:xfrm>
            <a:custGeom>
              <a:avLst/>
              <a:gdLst>
                <a:gd name="T0" fmla="*/ 2 h 2"/>
                <a:gd name="T1" fmla="*/ 2 h 2"/>
                <a:gd name="T2" fmla="*/ 2 h 2"/>
                <a:gd name="T3" fmla="*/ 2 h 2"/>
                <a:gd name="T4" fmla="*/ 0 h 2"/>
                <a:gd name="T5" fmla="*/ 0 h 2"/>
                <a:gd name="T6" fmla="*/ 0 h 2"/>
                <a:gd name="T7" fmla="*/ 2 h 2"/>
                <a:gd name="T8" fmla="*/ 2 h 2"/>
                <a:gd name="T9" fmla="*/ 2 h 2"/>
                <a:gd name="T10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7" name="任意多边形 216">
              <a:extLst>
                <a:ext uri="{FF2B5EF4-FFF2-40B4-BE49-F238E27FC236}">
                  <a16:creationId xmlns:a16="http://schemas.microsoft.com/office/drawing/2014/main" id="{5E4508A1-506E-4260-AD8E-EA0F7969D7A0}"/>
                </a:ext>
              </a:extLst>
            </p:cNvPr>
            <p:cNvSpPr/>
            <p:nvPr/>
          </p:nvSpPr>
          <p:spPr bwMode="auto">
            <a:xfrm>
              <a:off x="7742238" y="3630613"/>
              <a:ext cx="0" cy="3175"/>
            </a:xfrm>
            <a:custGeom>
              <a:avLst/>
              <a:gdLst>
                <a:gd name="T0" fmla="*/ 2 h 2"/>
                <a:gd name="T1" fmla="*/ 2 h 2"/>
                <a:gd name="T2" fmla="*/ 2 h 2"/>
                <a:gd name="T3" fmla="*/ 2 h 2"/>
                <a:gd name="T4" fmla="*/ 0 h 2"/>
                <a:gd name="T5" fmla="*/ 0 h 2"/>
                <a:gd name="T6" fmla="*/ 0 h 2"/>
                <a:gd name="T7" fmla="*/ 2 h 2"/>
                <a:gd name="T8" fmla="*/ 2 h 2"/>
                <a:gd name="T9" fmla="*/ 2 h 2"/>
                <a:gd name="T10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8" name="任意多边形 217">
              <a:extLst>
                <a:ext uri="{FF2B5EF4-FFF2-40B4-BE49-F238E27FC236}">
                  <a16:creationId xmlns:a16="http://schemas.microsoft.com/office/drawing/2014/main" id="{866D24B7-1E70-429D-BA6A-F13A1FEA7756}"/>
                </a:ext>
              </a:extLst>
            </p:cNvPr>
            <p:cNvSpPr/>
            <p:nvPr/>
          </p:nvSpPr>
          <p:spPr bwMode="auto">
            <a:xfrm>
              <a:off x="7559676" y="3541713"/>
              <a:ext cx="182563" cy="96837"/>
            </a:xfrm>
            <a:custGeom>
              <a:avLst/>
              <a:gdLst>
                <a:gd name="T0" fmla="*/ 0 w 70"/>
                <a:gd name="T1" fmla="*/ 19 h 37"/>
                <a:gd name="T2" fmla="*/ 0 w 70"/>
                <a:gd name="T3" fmla="*/ 19 h 37"/>
                <a:gd name="T4" fmla="*/ 0 w 70"/>
                <a:gd name="T5" fmla="*/ 11 h 37"/>
                <a:gd name="T6" fmla="*/ 60 w 70"/>
                <a:gd name="T7" fmla="*/ 16 h 37"/>
                <a:gd name="T8" fmla="*/ 70 w 70"/>
                <a:gd name="T9" fmla="*/ 0 h 37"/>
                <a:gd name="T10" fmla="*/ 70 w 70"/>
                <a:gd name="T11" fmla="*/ 7 h 37"/>
                <a:gd name="T12" fmla="*/ 70 w 70"/>
                <a:gd name="T13" fmla="*/ 7 h 37"/>
                <a:gd name="T14" fmla="*/ 60 w 70"/>
                <a:gd name="T15" fmla="*/ 24 h 37"/>
                <a:gd name="T16" fmla="*/ 4 w 70"/>
                <a:gd name="T17" fmla="*/ 26 h 37"/>
                <a:gd name="T18" fmla="*/ 0 w 70"/>
                <a:gd name="T1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6"/>
                    <a:pt x="0" y="13"/>
                    <a:pt x="0" y="11"/>
                  </a:cubicBezTo>
                  <a:cubicBezTo>
                    <a:pt x="0" y="25"/>
                    <a:pt x="37" y="32"/>
                    <a:pt x="60" y="16"/>
                  </a:cubicBezTo>
                  <a:cubicBezTo>
                    <a:pt x="66" y="12"/>
                    <a:pt x="70" y="6"/>
                    <a:pt x="70" y="0"/>
                  </a:cubicBezTo>
                  <a:cubicBezTo>
                    <a:pt x="70" y="2"/>
                    <a:pt x="70" y="5"/>
                    <a:pt x="7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14"/>
                    <a:pt x="65" y="20"/>
                    <a:pt x="60" y="24"/>
                  </a:cubicBezTo>
                  <a:cubicBezTo>
                    <a:pt x="43" y="37"/>
                    <a:pt x="14" y="36"/>
                    <a:pt x="4" y="26"/>
                  </a:cubicBezTo>
                  <a:cubicBezTo>
                    <a:pt x="2" y="24"/>
                    <a:pt x="0" y="22"/>
                    <a:pt x="0" y="19"/>
                  </a:cubicBezTo>
                </a:path>
              </a:pathLst>
            </a:custGeom>
            <a:solidFill>
              <a:srgbClr val="B190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9" name="任意多边形 218">
              <a:extLst>
                <a:ext uri="{FF2B5EF4-FFF2-40B4-BE49-F238E27FC236}">
                  <a16:creationId xmlns:a16="http://schemas.microsoft.com/office/drawing/2014/main" id="{96EB8AEA-B020-4246-87A7-174849B41A5C}"/>
                </a:ext>
              </a:extLst>
            </p:cNvPr>
            <p:cNvSpPr/>
            <p:nvPr/>
          </p:nvSpPr>
          <p:spPr bwMode="auto">
            <a:xfrm>
              <a:off x="7559676" y="3479800"/>
              <a:ext cx="182563" cy="98425"/>
            </a:xfrm>
            <a:custGeom>
              <a:avLst/>
              <a:gdLst>
                <a:gd name="T0" fmla="*/ 0 w 70"/>
                <a:gd name="T1" fmla="*/ 20 h 38"/>
                <a:gd name="T2" fmla="*/ 0 w 70"/>
                <a:gd name="T3" fmla="*/ 12 h 38"/>
                <a:gd name="T4" fmla="*/ 6 w 70"/>
                <a:gd name="T5" fmla="*/ 21 h 38"/>
                <a:gd name="T6" fmla="*/ 60 w 70"/>
                <a:gd name="T7" fmla="*/ 17 h 38"/>
                <a:gd name="T8" fmla="*/ 70 w 70"/>
                <a:gd name="T9" fmla="*/ 0 h 38"/>
                <a:gd name="T10" fmla="*/ 70 w 70"/>
                <a:gd name="T11" fmla="*/ 0 h 38"/>
                <a:gd name="T12" fmla="*/ 70 w 70"/>
                <a:gd name="T13" fmla="*/ 8 h 38"/>
                <a:gd name="T14" fmla="*/ 60 w 70"/>
                <a:gd name="T15" fmla="*/ 25 h 38"/>
                <a:gd name="T16" fmla="*/ 4 w 70"/>
                <a:gd name="T17" fmla="*/ 27 h 38"/>
                <a:gd name="T18" fmla="*/ 0 w 70"/>
                <a:gd name="T1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38">
                  <a:moveTo>
                    <a:pt x="0" y="20"/>
                  </a:moveTo>
                  <a:cubicBezTo>
                    <a:pt x="0" y="17"/>
                    <a:pt x="0" y="14"/>
                    <a:pt x="0" y="12"/>
                  </a:cubicBezTo>
                  <a:cubicBezTo>
                    <a:pt x="0" y="15"/>
                    <a:pt x="2" y="18"/>
                    <a:pt x="6" y="21"/>
                  </a:cubicBezTo>
                  <a:cubicBezTo>
                    <a:pt x="18" y="29"/>
                    <a:pt x="44" y="29"/>
                    <a:pt x="60" y="17"/>
                  </a:cubicBezTo>
                  <a:cubicBezTo>
                    <a:pt x="66" y="13"/>
                    <a:pt x="70" y="7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3"/>
                    <a:pt x="70" y="6"/>
                    <a:pt x="70" y="8"/>
                  </a:cubicBezTo>
                  <a:cubicBezTo>
                    <a:pt x="70" y="15"/>
                    <a:pt x="65" y="21"/>
                    <a:pt x="60" y="25"/>
                  </a:cubicBezTo>
                  <a:cubicBezTo>
                    <a:pt x="43" y="38"/>
                    <a:pt x="15" y="37"/>
                    <a:pt x="4" y="27"/>
                  </a:cubicBezTo>
                  <a:cubicBezTo>
                    <a:pt x="2" y="25"/>
                    <a:pt x="0" y="23"/>
                    <a:pt x="0" y="20"/>
                  </a:cubicBezTo>
                </a:path>
              </a:pathLst>
            </a:custGeom>
            <a:solidFill>
              <a:srgbClr val="B190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0" name="任意多边形 219">
              <a:extLst>
                <a:ext uri="{FF2B5EF4-FFF2-40B4-BE49-F238E27FC236}">
                  <a16:creationId xmlns:a16="http://schemas.microsoft.com/office/drawing/2014/main" id="{65064F5A-9A6D-4B6F-B98A-FDDD80F8A930}"/>
                </a:ext>
              </a:extLst>
            </p:cNvPr>
            <p:cNvSpPr/>
            <p:nvPr/>
          </p:nvSpPr>
          <p:spPr bwMode="auto">
            <a:xfrm>
              <a:off x="7554913" y="3479800"/>
              <a:ext cx="187325" cy="76200"/>
            </a:xfrm>
            <a:custGeom>
              <a:avLst/>
              <a:gdLst>
                <a:gd name="T0" fmla="*/ 62 w 72"/>
                <a:gd name="T1" fmla="*/ 17 h 29"/>
                <a:gd name="T2" fmla="*/ 8 w 72"/>
                <a:gd name="T3" fmla="*/ 21 h 29"/>
                <a:gd name="T4" fmla="*/ 6 w 72"/>
                <a:gd name="T5" fmla="*/ 4 h 29"/>
                <a:gd name="T6" fmla="*/ 42 w 72"/>
                <a:gd name="T7" fmla="*/ 11 h 29"/>
                <a:gd name="T8" fmla="*/ 72 w 72"/>
                <a:gd name="T9" fmla="*/ 0 h 29"/>
                <a:gd name="T10" fmla="*/ 72 w 72"/>
                <a:gd name="T11" fmla="*/ 0 h 29"/>
                <a:gd name="T12" fmla="*/ 62 w 72"/>
                <a:gd name="T13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29">
                  <a:moveTo>
                    <a:pt x="62" y="17"/>
                  </a:moveTo>
                  <a:cubicBezTo>
                    <a:pt x="46" y="29"/>
                    <a:pt x="20" y="29"/>
                    <a:pt x="8" y="21"/>
                  </a:cubicBezTo>
                  <a:cubicBezTo>
                    <a:pt x="2" y="16"/>
                    <a:pt x="0" y="10"/>
                    <a:pt x="6" y="4"/>
                  </a:cubicBezTo>
                  <a:cubicBezTo>
                    <a:pt x="14" y="12"/>
                    <a:pt x="31" y="13"/>
                    <a:pt x="42" y="11"/>
                  </a:cubicBezTo>
                  <a:cubicBezTo>
                    <a:pt x="53" y="10"/>
                    <a:pt x="64" y="7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2" y="7"/>
                    <a:pt x="67" y="13"/>
                    <a:pt x="62" y="17"/>
                  </a:cubicBezTo>
                </a:path>
              </a:pathLst>
            </a:custGeom>
            <a:solidFill>
              <a:srgbClr val="C0AD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1" name="任意多边形 220">
              <a:extLst>
                <a:ext uri="{FF2B5EF4-FFF2-40B4-BE49-F238E27FC236}">
                  <a16:creationId xmlns:a16="http://schemas.microsoft.com/office/drawing/2014/main" id="{895FEF74-D778-41D1-9BBC-A874EA4D4C69}"/>
                </a:ext>
              </a:extLst>
            </p:cNvPr>
            <p:cNvSpPr/>
            <p:nvPr/>
          </p:nvSpPr>
          <p:spPr bwMode="auto">
            <a:xfrm>
              <a:off x="7737476" y="3646488"/>
              <a:ext cx="0" cy="4762"/>
            </a:xfrm>
            <a:custGeom>
              <a:avLst/>
              <a:gdLst>
                <a:gd name="T0" fmla="*/ 3 h 3"/>
                <a:gd name="T1" fmla="*/ 3 h 3"/>
                <a:gd name="T2" fmla="*/ 2 h 3"/>
                <a:gd name="T3" fmla="*/ 2 h 3"/>
                <a:gd name="T4" fmla="*/ 2 h 3"/>
                <a:gd name="T5" fmla="*/ 0 h 3"/>
                <a:gd name="T6" fmla="*/ 2 h 3"/>
                <a:gd name="T7" fmla="*/ 2 h 3"/>
                <a:gd name="T8" fmla="*/ 3 h 3"/>
                <a:gd name="T9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2" name="任意多边形 221">
              <a:extLst>
                <a:ext uri="{FF2B5EF4-FFF2-40B4-BE49-F238E27FC236}">
                  <a16:creationId xmlns:a16="http://schemas.microsoft.com/office/drawing/2014/main" id="{AD002AEB-9BEB-4840-A246-F3984AE1B16E}"/>
                </a:ext>
              </a:extLst>
            </p:cNvPr>
            <p:cNvSpPr/>
            <p:nvPr/>
          </p:nvSpPr>
          <p:spPr bwMode="auto">
            <a:xfrm>
              <a:off x="7737476" y="3646488"/>
              <a:ext cx="0" cy="4762"/>
            </a:xfrm>
            <a:custGeom>
              <a:avLst/>
              <a:gdLst>
                <a:gd name="T0" fmla="*/ 3 h 3"/>
                <a:gd name="T1" fmla="*/ 3 h 3"/>
                <a:gd name="T2" fmla="*/ 2 h 3"/>
                <a:gd name="T3" fmla="*/ 2 h 3"/>
                <a:gd name="T4" fmla="*/ 2 h 3"/>
                <a:gd name="T5" fmla="*/ 0 h 3"/>
                <a:gd name="T6" fmla="*/ 2 h 3"/>
                <a:gd name="T7" fmla="*/ 2 h 3"/>
                <a:gd name="T8" fmla="*/ 3 h 3"/>
                <a:gd name="T9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3" name="任意多边形 222">
              <a:extLst>
                <a:ext uri="{FF2B5EF4-FFF2-40B4-BE49-F238E27FC236}">
                  <a16:creationId xmlns:a16="http://schemas.microsoft.com/office/drawing/2014/main" id="{32F90974-B3BB-4971-86C0-53E70F80F35D}"/>
                </a:ext>
              </a:extLst>
            </p:cNvPr>
            <p:cNvSpPr/>
            <p:nvPr/>
          </p:nvSpPr>
          <p:spPr bwMode="auto">
            <a:xfrm>
              <a:off x="7729538" y="3657600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0 w 2"/>
                <a:gd name="T5" fmla="*/ 1 h 1"/>
                <a:gd name="T6" fmla="*/ 2 w 2"/>
                <a:gd name="T7" fmla="*/ 0 h 1"/>
                <a:gd name="T8" fmla="*/ 2 w 2"/>
                <a:gd name="T9" fmla="*/ 0 h 1"/>
                <a:gd name="T10" fmla="*/ 2 w 2"/>
                <a:gd name="T11" fmla="*/ 0 h 1"/>
                <a:gd name="T12" fmla="*/ 2 w 2"/>
                <a:gd name="T13" fmla="*/ 0 h 1"/>
                <a:gd name="T14" fmla="*/ 0 w 2"/>
                <a:gd name="T15" fmla="*/ 1 h 1"/>
                <a:gd name="T16" fmla="*/ 0 w 2"/>
                <a:gd name="T17" fmla="*/ 1 h 1"/>
                <a:gd name="T18" fmla="*/ 0 w 2"/>
                <a:gd name="T1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4" name="任意多边形 223">
              <a:extLst>
                <a:ext uri="{FF2B5EF4-FFF2-40B4-BE49-F238E27FC236}">
                  <a16:creationId xmlns:a16="http://schemas.microsoft.com/office/drawing/2014/main" id="{DC03ACDF-CAD8-4E5F-8C76-9FC040ABF933}"/>
                </a:ext>
              </a:extLst>
            </p:cNvPr>
            <p:cNvSpPr/>
            <p:nvPr/>
          </p:nvSpPr>
          <p:spPr bwMode="auto">
            <a:xfrm>
              <a:off x="7729538" y="3657600"/>
              <a:ext cx="3175" cy="1587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0 w 2"/>
                <a:gd name="T5" fmla="*/ 1 h 1"/>
                <a:gd name="T6" fmla="*/ 2 w 2"/>
                <a:gd name="T7" fmla="*/ 0 h 1"/>
                <a:gd name="T8" fmla="*/ 2 w 2"/>
                <a:gd name="T9" fmla="*/ 0 h 1"/>
                <a:gd name="T10" fmla="*/ 2 w 2"/>
                <a:gd name="T11" fmla="*/ 0 h 1"/>
                <a:gd name="T12" fmla="*/ 2 w 2"/>
                <a:gd name="T13" fmla="*/ 0 h 1"/>
                <a:gd name="T14" fmla="*/ 0 w 2"/>
                <a:gd name="T15" fmla="*/ 1 h 1"/>
                <a:gd name="T16" fmla="*/ 0 w 2"/>
                <a:gd name="T17" fmla="*/ 1 h 1"/>
                <a:gd name="T18" fmla="*/ 0 w 2"/>
                <a:gd name="T1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5" name="任意多边形 224">
              <a:extLst>
                <a:ext uri="{FF2B5EF4-FFF2-40B4-BE49-F238E27FC236}">
                  <a16:creationId xmlns:a16="http://schemas.microsoft.com/office/drawing/2014/main" id="{DD45CA72-5875-4D9F-9BC2-103099D5422C}"/>
                </a:ext>
              </a:extLst>
            </p:cNvPr>
            <p:cNvSpPr/>
            <p:nvPr/>
          </p:nvSpPr>
          <p:spPr bwMode="auto">
            <a:xfrm>
              <a:off x="7729538" y="36591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6" name="任意多边形 225">
              <a:extLst>
                <a:ext uri="{FF2B5EF4-FFF2-40B4-BE49-F238E27FC236}">
                  <a16:creationId xmlns:a16="http://schemas.microsoft.com/office/drawing/2014/main" id="{E14E4152-9B94-4077-8A9D-D5CFA49A73A7}"/>
                </a:ext>
              </a:extLst>
            </p:cNvPr>
            <p:cNvSpPr/>
            <p:nvPr/>
          </p:nvSpPr>
          <p:spPr bwMode="auto">
            <a:xfrm>
              <a:off x="7724776" y="3659188"/>
              <a:ext cx="4763" cy="6350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1 h 2"/>
                <a:gd name="T8" fmla="*/ 2 w 2"/>
                <a:gd name="T9" fmla="*/ 0 h 2"/>
                <a:gd name="T10" fmla="*/ 2 w 2"/>
                <a:gd name="T11" fmla="*/ 0 h 2"/>
                <a:gd name="T12" fmla="*/ 2 w 2"/>
                <a:gd name="T13" fmla="*/ 0 h 2"/>
                <a:gd name="T14" fmla="*/ 2 w 2"/>
                <a:gd name="T15" fmla="*/ 0 h 2"/>
                <a:gd name="T16" fmla="*/ 0 w 2"/>
                <a:gd name="T17" fmla="*/ 2 h 2"/>
                <a:gd name="T18" fmla="*/ 0 w 2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7" name="任意多边形 226">
              <a:extLst>
                <a:ext uri="{FF2B5EF4-FFF2-40B4-BE49-F238E27FC236}">
                  <a16:creationId xmlns:a16="http://schemas.microsoft.com/office/drawing/2014/main" id="{7EE627AB-1507-4B0F-B079-DCC45F627A26}"/>
                </a:ext>
              </a:extLst>
            </p:cNvPr>
            <p:cNvSpPr/>
            <p:nvPr/>
          </p:nvSpPr>
          <p:spPr bwMode="auto">
            <a:xfrm>
              <a:off x="7716838" y="3667125"/>
              <a:ext cx="3175" cy="3175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1 w 1"/>
                <a:gd name="T9" fmla="*/ 0 h 1"/>
                <a:gd name="T10" fmla="*/ 1 w 1"/>
                <a:gd name="T11" fmla="*/ 0 h 1"/>
                <a:gd name="T12" fmla="*/ 1 w 1"/>
                <a:gd name="T13" fmla="*/ 0 h 1"/>
                <a:gd name="T14" fmla="*/ 0 w 1"/>
                <a:gd name="T15" fmla="*/ 1 h 1"/>
                <a:gd name="T16" fmla="*/ 0 w 1"/>
                <a:gd name="T1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228" name="图片 227">
              <a:extLst>
                <a:ext uri="{FF2B5EF4-FFF2-40B4-BE49-F238E27FC236}">
                  <a16:creationId xmlns:a16="http://schemas.microsoft.com/office/drawing/2014/main" id="{F55DFECA-0C05-49FA-8D31-495EC6C42F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9176" y="2830513"/>
              <a:ext cx="555625" cy="633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9" name="任意多边形 228">
              <a:extLst>
                <a:ext uri="{FF2B5EF4-FFF2-40B4-BE49-F238E27FC236}">
                  <a16:creationId xmlns:a16="http://schemas.microsoft.com/office/drawing/2014/main" id="{E34D0273-D6E0-4167-BECE-33DFB67AABA8}"/>
                </a:ext>
              </a:extLst>
            </p:cNvPr>
            <p:cNvSpPr/>
            <p:nvPr/>
          </p:nvSpPr>
          <p:spPr bwMode="auto">
            <a:xfrm>
              <a:off x="7562851" y="3482975"/>
              <a:ext cx="101600" cy="30162"/>
            </a:xfrm>
            <a:custGeom>
              <a:avLst/>
              <a:gdLst>
                <a:gd name="T0" fmla="*/ 39 w 39"/>
                <a:gd name="T1" fmla="*/ 10 h 12"/>
                <a:gd name="T2" fmla="*/ 7 w 39"/>
                <a:gd name="T3" fmla="*/ 6 h 12"/>
                <a:gd name="T4" fmla="*/ 0 w 39"/>
                <a:gd name="T5" fmla="*/ 0 h 12"/>
                <a:gd name="T6" fmla="*/ 39 w 39"/>
                <a:gd name="T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12">
                  <a:moveTo>
                    <a:pt x="39" y="10"/>
                  </a:moveTo>
                  <a:cubicBezTo>
                    <a:pt x="29" y="12"/>
                    <a:pt x="16" y="11"/>
                    <a:pt x="7" y="6"/>
                  </a:cubicBezTo>
                  <a:cubicBezTo>
                    <a:pt x="5" y="5"/>
                    <a:pt x="2" y="3"/>
                    <a:pt x="0" y="0"/>
                  </a:cubicBezTo>
                  <a:cubicBezTo>
                    <a:pt x="10" y="8"/>
                    <a:pt x="26" y="11"/>
                    <a:pt x="39" y="10"/>
                  </a:cubicBezTo>
                </a:path>
              </a:pathLst>
            </a:custGeom>
            <a:solidFill>
              <a:srgbClr val="C0AD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0" name="任意多边形 229">
              <a:extLst>
                <a:ext uri="{FF2B5EF4-FFF2-40B4-BE49-F238E27FC236}">
                  <a16:creationId xmlns:a16="http://schemas.microsoft.com/office/drawing/2014/main" id="{3B6BA53B-C4E2-448F-AB82-D170FEEE73ED}"/>
                </a:ext>
              </a:extLst>
            </p:cNvPr>
            <p:cNvSpPr/>
            <p:nvPr/>
          </p:nvSpPr>
          <p:spPr bwMode="auto">
            <a:xfrm>
              <a:off x="7573963" y="3659188"/>
              <a:ext cx="155575" cy="52387"/>
            </a:xfrm>
            <a:custGeom>
              <a:avLst/>
              <a:gdLst>
                <a:gd name="T0" fmla="*/ 59 w 60"/>
                <a:gd name="T1" fmla="*/ 1 h 20"/>
                <a:gd name="T2" fmla="*/ 60 w 60"/>
                <a:gd name="T3" fmla="*/ 0 h 20"/>
                <a:gd name="T4" fmla="*/ 48 w 60"/>
                <a:gd name="T5" fmla="*/ 12 h 20"/>
                <a:gd name="T6" fmla="*/ 12 w 60"/>
                <a:gd name="T7" fmla="*/ 12 h 20"/>
                <a:gd name="T8" fmla="*/ 11 w 60"/>
                <a:gd name="T9" fmla="*/ 11 h 20"/>
                <a:gd name="T10" fmla="*/ 1 w 60"/>
                <a:gd name="T11" fmla="*/ 0 h 20"/>
                <a:gd name="T12" fmla="*/ 0 w 60"/>
                <a:gd name="T13" fmla="*/ 0 h 20"/>
                <a:gd name="T14" fmla="*/ 6 w 60"/>
                <a:gd name="T15" fmla="*/ 4 h 20"/>
                <a:gd name="T16" fmla="*/ 11 w 60"/>
                <a:gd name="T17" fmla="*/ 6 h 20"/>
                <a:gd name="T18" fmla="*/ 12 w 60"/>
                <a:gd name="T19" fmla="*/ 7 h 20"/>
                <a:gd name="T20" fmla="*/ 13 w 60"/>
                <a:gd name="T21" fmla="*/ 7 h 20"/>
                <a:gd name="T22" fmla="*/ 14 w 60"/>
                <a:gd name="T23" fmla="*/ 7 h 20"/>
                <a:gd name="T24" fmla="*/ 14 w 60"/>
                <a:gd name="T25" fmla="*/ 7 h 20"/>
                <a:gd name="T26" fmla="*/ 15 w 60"/>
                <a:gd name="T27" fmla="*/ 8 h 20"/>
                <a:gd name="T28" fmla="*/ 16 w 60"/>
                <a:gd name="T29" fmla="*/ 8 h 20"/>
                <a:gd name="T30" fmla="*/ 17 w 60"/>
                <a:gd name="T31" fmla="*/ 8 h 20"/>
                <a:gd name="T32" fmla="*/ 21 w 60"/>
                <a:gd name="T33" fmla="*/ 9 h 20"/>
                <a:gd name="T34" fmla="*/ 23 w 60"/>
                <a:gd name="T35" fmla="*/ 9 h 20"/>
                <a:gd name="T36" fmla="*/ 25 w 60"/>
                <a:gd name="T37" fmla="*/ 9 h 20"/>
                <a:gd name="T38" fmla="*/ 27 w 60"/>
                <a:gd name="T39" fmla="*/ 10 h 20"/>
                <a:gd name="T40" fmla="*/ 28 w 60"/>
                <a:gd name="T41" fmla="*/ 10 h 20"/>
                <a:gd name="T42" fmla="*/ 28 w 60"/>
                <a:gd name="T43" fmla="*/ 10 h 20"/>
                <a:gd name="T44" fmla="*/ 30 w 60"/>
                <a:gd name="T45" fmla="*/ 10 h 20"/>
                <a:gd name="T46" fmla="*/ 41 w 60"/>
                <a:gd name="T47" fmla="*/ 9 h 20"/>
                <a:gd name="T48" fmla="*/ 43 w 60"/>
                <a:gd name="T49" fmla="*/ 8 h 20"/>
                <a:gd name="T50" fmla="*/ 43 w 60"/>
                <a:gd name="T51" fmla="*/ 8 h 20"/>
                <a:gd name="T52" fmla="*/ 47 w 60"/>
                <a:gd name="T53" fmla="*/ 7 h 20"/>
                <a:gd name="T54" fmla="*/ 58 w 60"/>
                <a:gd name="T55" fmla="*/ 2 h 20"/>
                <a:gd name="T56" fmla="*/ 59 w 60"/>
                <a:gd name="T5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" h="20">
                  <a:moveTo>
                    <a:pt x="59" y="1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58" y="2"/>
                    <a:pt x="51" y="9"/>
                    <a:pt x="48" y="12"/>
                  </a:cubicBezTo>
                  <a:cubicBezTo>
                    <a:pt x="40" y="20"/>
                    <a:pt x="20" y="20"/>
                    <a:pt x="12" y="12"/>
                  </a:cubicBezTo>
                  <a:cubicBezTo>
                    <a:pt x="12" y="12"/>
                    <a:pt x="11" y="11"/>
                    <a:pt x="11" y="11"/>
                  </a:cubicBezTo>
                  <a:cubicBezTo>
                    <a:pt x="8" y="7"/>
                    <a:pt x="4" y="4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4" y="3"/>
                    <a:pt x="6" y="4"/>
                  </a:cubicBezTo>
                  <a:cubicBezTo>
                    <a:pt x="8" y="5"/>
                    <a:pt x="9" y="6"/>
                    <a:pt x="11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5" y="8"/>
                    <a:pt x="15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9" y="9"/>
                    <a:pt x="20" y="9"/>
                    <a:pt x="21" y="9"/>
                  </a:cubicBezTo>
                  <a:cubicBezTo>
                    <a:pt x="22" y="9"/>
                    <a:pt x="22" y="9"/>
                    <a:pt x="23" y="9"/>
                  </a:cubicBezTo>
                  <a:cubicBezTo>
                    <a:pt x="23" y="9"/>
                    <a:pt x="24" y="9"/>
                    <a:pt x="25" y="9"/>
                  </a:cubicBezTo>
                  <a:cubicBezTo>
                    <a:pt x="26" y="9"/>
                    <a:pt x="26" y="10"/>
                    <a:pt x="27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9" y="10"/>
                    <a:pt x="29" y="10"/>
                    <a:pt x="30" y="10"/>
                  </a:cubicBezTo>
                  <a:cubicBezTo>
                    <a:pt x="34" y="10"/>
                    <a:pt x="38" y="9"/>
                    <a:pt x="41" y="9"/>
                  </a:cubicBezTo>
                  <a:cubicBezTo>
                    <a:pt x="42" y="9"/>
                    <a:pt x="42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5" y="8"/>
                    <a:pt x="46" y="8"/>
                    <a:pt x="47" y="7"/>
                  </a:cubicBezTo>
                  <a:cubicBezTo>
                    <a:pt x="51" y="6"/>
                    <a:pt x="55" y="4"/>
                    <a:pt x="58" y="2"/>
                  </a:cubicBezTo>
                  <a:cubicBezTo>
                    <a:pt x="58" y="2"/>
                    <a:pt x="59" y="1"/>
                    <a:pt x="59" y="1"/>
                  </a:cubicBezTo>
                </a:path>
              </a:pathLst>
            </a:custGeom>
            <a:solidFill>
              <a:srgbClr val="C0AD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1" name="任意多边形 230">
              <a:extLst>
                <a:ext uri="{FF2B5EF4-FFF2-40B4-BE49-F238E27FC236}">
                  <a16:creationId xmlns:a16="http://schemas.microsoft.com/office/drawing/2014/main" id="{8F4BF0D0-1D25-426E-BD4D-B1159B9682BC}"/>
                </a:ext>
              </a:extLst>
            </p:cNvPr>
            <p:cNvSpPr/>
            <p:nvPr/>
          </p:nvSpPr>
          <p:spPr bwMode="auto">
            <a:xfrm>
              <a:off x="7559676" y="3600450"/>
              <a:ext cx="182563" cy="85725"/>
            </a:xfrm>
            <a:custGeom>
              <a:avLst/>
              <a:gdLst>
                <a:gd name="T0" fmla="*/ 70 w 70"/>
                <a:gd name="T1" fmla="*/ 0 h 33"/>
                <a:gd name="T2" fmla="*/ 70 w 70"/>
                <a:gd name="T3" fmla="*/ 13 h 33"/>
                <a:gd name="T4" fmla="*/ 66 w 70"/>
                <a:gd name="T5" fmla="*/ 22 h 33"/>
                <a:gd name="T6" fmla="*/ 65 w 70"/>
                <a:gd name="T7" fmla="*/ 23 h 33"/>
                <a:gd name="T8" fmla="*/ 65 w 70"/>
                <a:gd name="T9" fmla="*/ 23 h 33"/>
                <a:gd name="T10" fmla="*/ 64 w 70"/>
                <a:gd name="T11" fmla="*/ 24 h 33"/>
                <a:gd name="T12" fmla="*/ 63 w 70"/>
                <a:gd name="T13" fmla="*/ 25 h 33"/>
                <a:gd name="T14" fmla="*/ 52 w 70"/>
                <a:gd name="T15" fmla="*/ 30 h 33"/>
                <a:gd name="T16" fmla="*/ 48 w 70"/>
                <a:gd name="T17" fmla="*/ 31 h 33"/>
                <a:gd name="T18" fmla="*/ 48 w 70"/>
                <a:gd name="T19" fmla="*/ 31 h 33"/>
                <a:gd name="T20" fmla="*/ 46 w 70"/>
                <a:gd name="T21" fmla="*/ 32 h 33"/>
                <a:gd name="T22" fmla="*/ 35 w 70"/>
                <a:gd name="T23" fmla="*/ 33 h 33"/>
                <a:gd name="T24" fmla="*/ 33 w 70"/>
                <a:gd name="T25" fmla="*/ 33 h 33"/>
                <a:gd name="T26" fmla="*/ 33 w 70"/>
                <a:gd name="T27" fmla="*/ 33 h 33"/>
                <a:gd name="T28" fmla="*/ 31 w 70"/>
                <a:gd name="T29" fmla="*/ 33 h 33"/>
                <a:gd name="T30" fmla="*/ 30 w 70"/>
                <a:gd name="T31" fmla="*/ 32 h 33"/>
                <a:gd name="T32" fmla="*/ 28 w 70"/>
                <a:gd name="T33" fmla="*/ 32 h 33"/>
                <a:gd name="T34" fmla="*/ 26 w 70"/>
                <a:gd name="T35" fmla="*/ 32 h 33"/>
                <a:gd name="T36" fmla="*/ 22 w 70"/>
                <a:gd name="T37" fmla="*/ 31 h 33"/>
                <a:gd name="T38" fmla="*/ 20 w 70"/>
                <a:gd name="T39" fmla="*/ 31 h 33"/>
                <a:gd name="T40" fmla="*/ 19 w 70"/>
                <a:gd name="T41" fmla="*/ 30 h 33"/>
                <a:gd name="T42" fmla="*/ 19 w 70"/>
                <a:gd name="T43" fmla="*/ 30 h 33"/>
                <a:gd name="T44" fmla="*/ 18 w 70"/>
                <a:gd name="T45" fmla="*/ 30 h 33"/>
                <a:gd name="T46" fmla="*/ 11 w 70"/>
                <a:gd name="T47" fmla="*/ 27 h 33"/>
                <a:gd name="T48" fmla="*/ 6 w 70"/>
                <a:gd name="T49" fmla="*/ 23 h 33"/>
                <a:gd name="T50" fmla="*/ 5 w 70"/>
                <a:gd name="T51" fmla="*/ 23 h 33"/>
                <a:gd name="T52" fmla="*/ 5 w 70"/>
                <a:gd name="T53" fmla="*/ 23 h 33"/>
                <a:gd name="T54" fmla="*/ 2 w 70"/>
                <a:gd name="T55" fmla="*/ 18 h 33"/>
                <a:gd name="T56" fmla="*/ 0 w 70"/>
                <a:gd name="T57" fmla="*/ 12 h 33"/>
                <a:gd name="T58" fmla="*/ 1 w 70"/>
                <a:gd name="T59" fmla="*/ 13 h 33"/>
                <a:gd name="T60" fmla="*/ 1 w 70"/>
                <a:gd name="T61" fmla="*/ 13 h 33"/>
                <a:gd name="T62" fmla="*/ 1 w 70"/>
                <a:gd name="T63" fmla="*/ 14 h 33"/>
                <a:gd name="T64" fmla="*/ 1 w 70"/>
                <a:gd name="T65" fmla="*/ 15 h 33"/>
                <a:gd name="T66" fmla="*/ 2 w 70"/>
                <a:gd name="T67" fmla="*/ 16 h 33"/>
                <a:gd name="T68" fmla="*/ 2 w 70"/>
                <a:gd name="T69" fmla="*/ 16 h 33"/>
                <a:gd name="T70" fmla="*/ 3 w 70"/>
                <a:gd name="T71" fmla="*/ 17 h 33"/>
                <a:gd name="T72" fmla="*/ 4 w 70"/>
                <a:gd name="T73" fmla="*/ 18 h 33"/>
                <a:gd name="T74" fmla="*/ 4 w 70"/>
                <a:gd name="T75" fmla="*/ 19 h 33"/>
                <a:gd name="T76" fmla="*/ 6 w 70"/>
                <a:gd name="T77" fmla="*/ 20 h 33"/>
                <a:gd name="T78" fmla="*/ 8 w 70"/>
                <a:gd name="T79" fmla="*/ 22 h 33"/>
                <a:gd name="T80" fmla="*/ 9 w 70"/>
                <a:gd name="T81" fmla="*/ 22 h 33"/>
                <a:gd name="T82" fmla="*/ 10 w 70"/>
                <a:gd name="T83" fmla="*/ 23 h 33"/>
                <a:gd name="T84" fmla="*/ 25 w 70"/>
                <a:gd name="T85" fmla="*/ 26 h 33"/>
                <a:gd name="T86" fmla="*/ 26 w 70"/>
                <a:gd name="T87" fmla="*/ 26 h 33"/>
                <a:gd name="T88" fmla="*/ 31 w 70"/>
                <a:gd name="T89" fmla="*/ 26 h 33"/>
                <a:gd name="T90" fmla="*/ 33 w 70"/>
                <a:gd name="T91" fmla="*/ 26 h 33"/>
                <a:gd name="T92" fmla="*/ 39 w 70"/>
                <a:gd name="T93" fmla="*/ 25 h 33"/>
                <a:gd name="T94" fmla="*/ 40 w 70"/>
                <a:gd name="T95" fmla="*/ 25 h 33"/>
                <a:gd name="T96" fmla="*/ 41 w 70"/>
                <a:gd name="T97" fmla="*/ 25 h 33"/>
                <a:gd name="T98" fmla="*/ 41 w 70"/>
                <a:gd name="T99" fmla="*/ 25 h 33"/>
                <a:gd name="T100" fmla="*/ 55 w 70"/>
                <a:gd name="T101" fmla="*/ 20 h 33"/>
                <a:gd name="T102" fmla="*/ 58 w 70"/>
                <a:gd name="T103" fmla="*/ 18 h 33"/>
                <a:gd name="T104" fmla="*/ 60 w 70"/>
                <a:gd name="T105" fmla="*/ 17 h 33"/>
                <a:gd name="T106" fmla="*/ 66 w 70"/>
                <a:gd name="T107" fmla="*/ 10 h 33"/>
                <a:gd name="T108" fmla="*/ 68 w 70"/>
                <a:gd name="T109" fmla="*/ 9 h 33"/>
                <a:gd name="T110" fmla="*/ 68 w 70"/>
                <a:gd name="T111" fmla="*/ 7 h 33"/>
                <a:gd name="T112" fmla="*/ 69 w 70"/>
                <a:gd name="T113" fmla="*/ 6 h 33"/>
                <a:gd name="T114" fmla="*/ 69 w 70"/>
                <a:gd name="T115" fmla="*/ 5 h 33"/>
                <a:gd name="T116" fmla="*/ 70 w 70"/>
                <a:gd name="T117" fmla="*/ 4 h 33"/>
                <a:gd name="T118" fmla="*/ 70 w 70"/>
                <a:gd name="T119" fmla="*/ 2 h 33"/>
                <a:gd name="T120" fmla="*/ 70 w 70"/>
                <a:gd name="T121" fmla="*/ 2 h 33"/>
                <a:gd name="T122" fmla="*/ 70 w 70"/>
                <a:gd name="T12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" h="33">
                  <a:moveTo>
                    <a:pt x="70" y="0"/>
                  </a:moveTo>
                  <a:cubicBezTo>
                    <a:pt x="70" y="13"/>
                    <a:pt x="70" y="13"/>
                    <a:pt x="70" y="13"/>
                  </a:cubicBezTo>
                  <a:cubicBezTo>
                    <a:pt x="70" y="16"/>
                    <a:pt x="68" y="20"/>
                    <a:pt x="66" y="22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3" y="25"/>
                    <a:pt x="63" y="25"/>
                  </a:cubicBezTo>
                  <a:cubicBezTo>
                    <a:pt x="60" y="27"/>
                    <a:pt x="56" y="29"/>
                    <a:pt x="52" y="30"/>
                  </a:cubicBezTo>
                  <a:cubicBezTo>
                    <a:pt x="51" y="31"/>
                    <a:pt x="50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7" y="31"/>
                    <a:pt x="47" y="32"/>
                    <a:pt x="46" y="32"/>
                  </a:cubicBezTo>
                  <a:cubicBezTo>
                    <a:pt x="43" y="32"/>
                    <a:pt x="39" y="33"/>
                    <a:pt x="35" y="33"/>
                  </a:cubicBezTo>
                  <a:cubicBezTo>
                    <a:pt x="34" y="33"/>
                    <a:pt x="34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2" y="33"/>
                    <a:pt x="32" y="33"/>
                    <a:pt x="31" y="33"/>
                  </a:cubicBezTo>
                  <a:cubicBezTo>
                    <a:pt x="31" y="33"/>
                    <a:pt x="30" y="32"/>
                    <a:pt x="30" y="32"/>
                  </a:cubicBezTo>
                  <a:cubicBezTo>
                    <a:pt x="29" y="32"/>
                    <a:pt x="28" y="32"/>
                    <a:pt x="28" y="32"/>
                  </a:cubicBezTo>
                  <a:cubicBezTo>
                    <a:pt x="27" y="32"/>
                    <a:pt x="27" y="32"/>
                    <a:pt x="26" y="32"/>
                  </a:cubicBezTo>
                  <a:cubicBezTo>
                    <a:pt x="25" y="32"/>
                    <a:pt x="24" y="32"/>
                    <a:pt x="22" y="31"/>
                  </a:cubicBezTo>
                  <a:cubicBezTo>
                    <a:pt x="22" y="31"/>
                    <a:pt x="21" y="31"/>
                    <a:pt x="20" y="31"/>
                  </a:cubicBezTo>
                  <a:cubicBezTo>
                    <a:pt x="20" y="31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6" y="29"/>
                    <a:pt x="14" y="28"/>
                    <a:pt x="11" y="27"/>
                  </a:cubicBezTo>
                  <a:cubicBezTo>
                    <a:pt x="9" y="26"/>
                    <a:pt x="7" y="25"/>
                    <a:pt x="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1"/>
                    <a:pt x="3" y="20"/>
                    <a:pt x="2" y="18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8"/>
                    <a:pt x="4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5" y="20"/>
                    <a:pt x="6" y="20"/>
                  </a:cubicBezTo>
                  <a:cubicBezTo>
                    <a:pt x="7" y="21"/>
                    <a:pt x="8" y="21"/>
                    <a:pt x="8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5" y="24"/>
                    <a:pt x="20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8" y="26"/>
                    <a:pt x="29" y="26"/>
                    <a:pt x="31" y="26"/>
                  </a:cubicBezTo>
                  <a:cubicBezTo>
                    <a:pt x="31" y="26"/>
                    <a:pt x="32" y="26"/>
                    <a:pt x="33" y="26"/>
                  </a:cubicBezTo>
                  <a:cubicBezTo>
                    <a:pt x="35" y="26"/>
                    <a:pt x="37" y="26"/>
                    <a:pt x="39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6" y="24"/>
                    <a:pt x="51" y="22"/>
                    <a:pt x="55" y="20"/>
                  </a:cubicBezTo>
                  <a:cubicBezTo>
                    <a:pt x="56" y="20"/>
                    <a:pt x="57" y="19"/>
                    <a:pt x="58" y="18"/>
                  </a:cubicBezTo>
                  <a:cubicBezTo>
                    <a:pt x="59" y="18"/>
                    <a:pt x="59" y="17"/>
                    <a:pt x="60" y="17"/>
                  </a:cubicBezTo>
                  <a:cubicBezTo>
                    <a:pt x="62" y="15"/>
                    <a:pt x="65" y="13"/>
                    <a:pt x="66" y="10"/>
                  </a:cubicBezTo>
                  <a:cubicBezTo>
                    <a:pt x="67" y="10"/>
                    <a:pt x="67" y="9"/>
                    <a:pt x="68" y="9"/>
                  </a:cubicBezTo>
                  <a:cubicBezTo>
                    <a:pt x="68" y="8"/>
                    <a:pt x="68" y="8"/>
                    <a:pt x="68" y="7"/>
                  </a:cubicBezTo>
                  <a:cubicBezTo>
                    <a:pt x="69" y="7"/>
                    <a:pt x="69" y="6"/>
                    <a:pt x="69" y="6"/>
                  </a:cubicBezTo>
                  <a:cubicBezTo>
                    <a:pt x="69" y="6"/>
                    <a:pt x="69" y="5"/>
                    <a:pt x="69" y="5"/>
                  </a:cubicBezTo>
                  <a:cubicBezTo>
                    <a:pt x="69" y="4"/>
                    <a:pt x="69" y="4"/>
                    <a:pt x="70" y="4"/>
                  </a:cubicBezTo>
                  <a:cubicBezTo>
                    <a:pt x="70" y="3"/>
                    <a:pt x="70" y="3"/>
                    <a:pt x="70" y="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0" y="1"/>
                    <a:pt x="70" y="1"/>
                    <a:pt x="70" y="0"/>
                  </a:cubicBezTo>
                </a:path>
              </a:pathLst>
            </a:custGeom>
            <a:solidFill>
              <a:srgbClr val="B190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2" name="任意多边形 231">
              <a:extLst>
                <a:ext uri="{FF2B5EF4-FFF2-40B4-BE49-F238E27FC236}">
                  <a16:creationId xmlns:a16="http://schemas.microsoft.com/office/drawing/2014/main" id="{32AD78C1-0AEA-4C27-8855-918ACD2F3496}"/>
                </a:ext>
              </a:extLst>
            </p:cNvPr>
            <p:cNvSpPr/>
            <p:nvPr/>
          </p:nvSpPr>
          <p:spPr bwMode="auto">
            <a:xfrm>
              <a:off x="7697788" y="3154363"/>
              <a:ext cx="15875" cy="12700"/>
            </a:xfrm>
            <a:custGeom>
              <a:avLst/>
              <a:gdLst>
                <a:gd name="T0" fmla="*/ 6 w 6"/>
                <a:gd name="T1" fmla="*/ 3 h 5"/>
                <a:gd name="T2" fmla="*/ 1 w 6"/>
                <a:gd name="T3" fmla="*/ 3 h 5"/>
                <a:gd name="T4" fmla="*/ 1 w 6"/>
                <a:gd name="T5" fmla="*/ 1 h 5"/>
                <a:gd name="T6" fmla="*/ 5 w 6"/>
                <a:gd name="T7" fmla="*/ 1 h 5"/>
                <a:gd name="T8" fmla="*/ 6 w 6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3"/>
                  </a:moveTo>
                  <a:cubicBezTo>
                    <a:pt x="5" y="5"/>
                    <a:pt x="3" y="4"/>
                    <a:pt x="1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4" y="0"/>
                    <a:pt x="5" y="1"/>
                  </a:cubicBezTo>
                  <a:cubicBezTo>
                    <a:pt x="6" y="2"/>
                    <a:pt x="6" y="2"/>
                    <a:pt x="6" y="3"/>
                  </a:cubicBezTo>
                </a:path>
              </a:pathLst>
            </a:custGeom>
            <a:solidFill>
              <a:srgbClr val="ED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3" name="任意多边形 232">
              <a:extLst>
                <a:ext uri="{FF2B5EF4-FFF2-40B4-BE49-F238E27FC236}">
                  <a16:creationId xmlns:a16="http://schemas.microsoft.com/office/drawing/2014/main" id="{1073B332-9632-4657-8CDA-290881EED10D}"/>
                </a:ext>
              </a:extLst>
            </p:cNvPr>
            <p:cNvSpPr/>
            <p:nvPr/>
          </p:nvSpPr>
          <p:spPr bwMode="auto">
            <a:xfrm>
              <a:off x="7656513" y="3155950"/>
              <a:ext cx="57150" cy="133350"/>
            </a:xfrm>
            <a:custGeom>
              <a:avLst/>
              <a:gdLst>
                <a:gd name="T0" fmla="*/ 5 w 22"/>
                <a:gd name="T1" fmla="*/ 49 h 51"/>
                <a:gd name="T2" fmla="*/ 0 w 22"/>
                <a:gd name="T3" fmla="*/ 49 h 51"/>
                <a:gd name="T4" fmla="*/ 0 w 22"/>
                <a:gd name="T5" fmla="*/ 48 h 51"/>
                <a:gd name="T6" fmla="*/ 17 w 22"/>
                <a:gd name="T7" fmla="*/ 0 h 51"/>
                <a:gd name="T8" fmla="*/ 20 w 22"/>
                <a:gd name="T9" fmla="*/ 3 h 51"/>
                <a:gd name="T10" fmla="*/ 22 w 22"/>
                <a:gd name="T11" fmla="*/ 2 h 51"/>
                <a:gd name="T12" fmla="*/ 5 w 22"/>
                <a:gd name="T13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51">
                  <a:moveTo>
                    <a:pt x="5" y="49"/>
                  </a:moveTo>
                  <a:cubicBezTo>
                    <a:pt x="5" y="50"/>
                    <a:pt x="2" y="51"/>
                    <a:pt x="0" y="49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2"/>
                    <a:pt x="19" y="4"/>
                    <a:pt x="20" y="3"/>
                  </a:cubicBezTo>
                  <a:cubicBezTo>
                    <a:pt x="21" y="3"/>
                    <a:pt x="21" y="3"/>
                    <a:pt x="22" y="2"/>
                  </a:cubicBezTo>
                  <a:cubicBezTo>
                    <a:pt x="18" y="13"/>
                    <a:pt x="6" y="49"/>
                    <a:pt x="5" y="49"/>
                  </a:cubicBezTo>
                </a:path>
              </a:pathLst>
            </a:custGeom>
            <a:solidFill>
              <a:srgbClr val="E8DD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4" name="任意多边形 233">
              <a:extLst>
                <a:ext uri="{FF2B5EF4-FFF2-40B4-BE49-F238E27FC236}">
                  <a16:creationId xmlns:a16="http://schemas.microsoft.com/office/drawing/2014/main" id="{B028B45B-D597-4E42-A9F4-795BCA764C02}"/>
                </a:ext>
              </a:extLst>
            </p:cNvPr>
            <p:cNvSpPr/>
            <p:nvPr/>
          </p:nvSpPr>
          <p:spPr bwMode="auto">
            <a:xfrm>
              <a:off x="7615238" y="3257550"/>
              <a:ext cx="73025" cy="42862"/>
            </a:xfrm>
            <a:custGeom>
              <a:avLst/>
              <a:gdLst>
                <a:gd name="T0" fmla="*/ 21 w 28"/>
                <a:gd name="T1" fmla="*/ 10 h 16"/>
                <a:gd name="T2" fmla="*/ 24 w 28"/>
                <a:gd name="T3" fmla="*/ 2 h 16"/>
                <a:gd name="T4" fmla="*/ 23 w 28"/>
                <a:gd name="T5" fmla="*/ 12 h 16"/>
                <a:gd name="T6" fmla="*/ 4 w 28"/>
                <a:gd name="T7" fmla="*/ 11 h 16"/>
                <a:gd name="T8" fmla="*/ 6 w 28"/>
                <a:gd name="T9" fmla="*/ 1 h 16"/>
                <a:gd name="T10" fmla="*/ 8 w 28"/>
                <a:gd name="T11" fmla="*/ 5 h 16"/>
                <a:gd name="T12" fmla="*/ 12 w 28"/>
                <a:gd name="T13" fmla="*/ 4 h 16"/>
                <a:gd name="T14" fmla="*/ 11 w 28"/>
                <a:gd name="T15" fmla="*/ 0 h 16"/>
                <a:gd name="T16" fmla="*/ 19 w 28"/>
                <a:gd name="T17" fmla="*/ 0 h 16"/>
                <a:gd name="T18" fmla="*/ 16 w 28"/>
                <a:gd name="T19" fmla="*/ 9 h 16"/>
                <a:gd name="T20" fmla="*/ 21 w 28"/>
                <a:gd name="T21" fmla="*/ 11 h 16"/>
                <a:gd name="T22" fmla="*/ 21 w 28"/>
                <a:gd name="T23" fmla="*/ 10 h 16"/>
                <a:gd name="T24" fmla="*/ 21 w 28"/>
                <a:gd name="T2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16">
                  <a:moveTo>
                    <a:pt x="21" y="10"/>
                  </a:moveTo>
                  <a:cubicBezTo>
                    <a:pt x="22" y="8"/>
                    <a:pt x="23" y="5"/>
                    <a:pt x="24" y="2"/>
                  </a:cubicBezTo>
                  <a:cubicBezTo>
                    <a:pt x="28" y="5"/>
                    <a:pt x="28" y="10"/>
                    <a:pt x="23" y="12"/>
                  </a:cubicBezTo>
                  <a:cubicBezTo>
                    <a:pt x="18" y="16"/>
                    <a:pt x="8" y="15"/>
                    <a:pt x="4" y="11"/>
                  </a:cubicBezTo>
                  <a:cubicBezTo>
                    <a:pt x="0" y="8"/>
                    <a:pt x="1" y="4"/>
                    <a:pt x="6" y="1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9" y="6"/>
                    <a:pt x="13" y="6"/>
                    <a:pt x="12" y="4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14" y="0"/>
                    <a:pt x="17" y="0"/>
                    <a:pt x="19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1"/>
                    <a:pt x="19" y="12"/>
                    <a:pt x="21" y="11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</a:path>
              </a:pathLst>
            </a:custGeom>
            <a:solidFill>
              <a:srgbClr val="BAA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5" name="任意多边形 234">
              <a:extLst>
                <a:ext uri="{FF2B5EF4-FFF2-40B4-BE49-F238E27FC236}">
                  <a16:creationId xmlns:a16="http://schemas.microsoft.com/office/drawing/2014/main" id="{C1909D35-C670-4AAE-99B3-E6ED17BB7562}"/>
                </a:ext>
              </a:extLst>
            </p:cNvPr>
            <p:cNvSpPr/>
            <p:nvPr/>
          </p:nvSpPr>
          <p:spPr bwMode="auto">
            <a:xfrm>
              <a:off x="7620001" y="3276600"/>
              <a:ext cx="65088" cy="82550"/>
            </a:xfrm>
            <a:custGeom>
              <a:avLst/>
              <a:gdLst>
                <a:gd name="T0" fmla="*/ 24 w 25"/>
                <a:gd name="T1" fmla="*/ 3 h 32"/>
                <a:gd name="T2" fmla="*/ 25 w 25"/>
                <a:gd name="T3" fmla="*/ 0 h 32"/>
                <a:gd name="T4" fmla="*/ 25 w 25"/>
                <a:gd name="T5" fmla="*/ 0 h 32"/>
                <a:gd name="T6" fmla="*/ 25 w 25"/>
                <a:gd name="T7" fmla="*/ 22 h 32"/>
                <a:gd name="T8" fmla="*/ 21 w 25"/>
                <a:gd name="T9" fmla="*/ 28 h 32"/>
                <a:gd name="T10" fmla="*/ 0 w 25"/>
                <a:gd name="T11" fmla="*/ 22 h 32"/>
                <a:gd name="T12" fmla="*/ 0 w 25"/>
                <a:gd name="T13" fmla="*/ 0 h 32"/>
                <a:gd name="T14" fmla="*/ 0 w 25"/>
                <a:gd name="T15" fmla="*/ 0 h 32"/>
                <a:gd name="T16" fmla="*/ 2 w 25"/>
                <a:gd name="T17" fmla="*/ 4 h 32"/>
                <a:gd name="T18" fmla="*/ 24 w 25"/>
                <a:gd name="T19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32">
                  <a:moveTo>
                    <a:pt x="24" y="3"/>
                  </a:moveTo>
                  <a:cubicBezTo>
                    <a:pt x="24" y="2"/>
                    <a:pt x="25" y="1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3"/>
                    <a:pt x="25" y="19"/>
                    <a:pt x="25" y="22"/>
                  </a:cubicBezTo>
                  <a:cubicBezTo>
                    <a:pt x="25" y="25"/>
                    <a:pt x="23" y="26"/>
                    <a:pt x="21" y="28"/>
                  </a:cubicBezTo>
                  <a:cubicBezTo>
                    <a:pt x="13" y="32"/>
                    <a:pt x="0" y="29"/>
                    <a:pt x="0" y="22"/>
                  </a:cubicBezTo>
                  <a:cubicBezTo>
                    <a:pt x="0" y="20"/>
                    <a:pt x="0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7" y="9"/>
                    <a:pt x="19" y="8"/>
                    <a:pt x="24" y="3"/>
                  </a:cubicBezTo>
                </a:path>
              </a:pathLst>
            </a:custGeom>
            <a:solidFill>
              <a:srgbClr val="8F7A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6" name="任意多边形 235">
              <a:extLst>
                <a:ext uri="{FF2B5EF4-FFF2-40B4-BE49-F238E27FC236}">
                  <a16:creationId xmlns:a16="http://schemas.microsoft.com/office/drawing/2014/main" id="{FE1EC0B2-0E29-47EF-997A-D7642C9E04DD}"/>
                </a:ext>
              </a:extLst>
            </p:cNvPr>
            <p:cNvSpPr/>
            <p:nvPr/>
          </p:nvSpPr>
          <p:spPr bwMode="auto">
            <a:xfrm>
              <a:off x="7542213" y="3286125"/>
              <a:ext cx="222250" cy="104775"/>
            </a:xfrm>
            <a:custGeom>
              <a:avLst/>
              <a:gdLst>
                <a:gd name="T0" fmla="*/ 55 w 85"/>
                <a:gd name="T1" fmla="*/ 0 h 40"/>
                <a:gd name="T2" fmla="*/ 55 w 85"/>
                <a:gd name="T3" fmla="*/ 18 h 40"/>
                <a:gd name="T4" fmla="*/ 51 w 85"/>
                <a:gd name="T5" fmla="*/ 24 h 40"/>
                <a:gd name="T6" fmla="*/ 30 w 85"/>
                <a:gd name="T7" fmla="*/ 18 h 40"/>
                <a:gd name="T8" fmla="*/ 30 w 85"/>
                <a:gd name="T9" fmla="*/ 0 h 40"/>
                <a:gd name="T10" fmla="*/ 18 w 85"/>
                <a:gd name="T11" fmla="*/ 33 h 40"/>
                <a:gd name="T12" fmla="*/ 67 w 85"/>
                <a:gd name="T13" fmla="*/ 33 h 40"/>
                <a:gd name="T14" fmla="*/ 55 w 85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40">
                  <a:moveTo>
                    <a:pt x="55" y="0"/>
                  </a:moveTo>
                  <a:cubicBezTo>
                    <a:pt x="55" y="6"/>
                    <a:pt x="55" y="12"/>
                    <a:pt x="55" y="18"/>
                  </a:cubicBezTo>
                  <a:cubicBezTo>
                    <a:pt x="55" y="21"/>
                    <a:pt x="53" y="22"/>
                    <a:pt x="51" y="24"/>
                  </a:cubicBezTo>
                  <a:cubicBezTo>
                    <a:pt x="44" y="28"/>
                    <a:pt x="30" y="25"/>
                    <a:pt x="30" y="18"/>
                  </a:cubicBezTo>
                  <a:cubicBezTo>
                    <a:pt x="30" y="12"/>
                    <a:pt x="30" y="6"/>
                    <a:pt x="30" y="0"/>
                  </a:cubicBezTo>
                  <a:cubicBezTo>
                    <a:pt x="6" y="5"/>
                    <a:pt x="0" y="22"/>
                    <a:pt x="18" y="33"/>
                  </a:cubicBezTo>
                  <a:cubicBezTo>
                    <a:pt x="31" y="40"/>
                    <a:pt x="53" y="40"/>
                    <a:pt x="67" y="33"/>
                  </a:cubicBezTo>
                  <a:cubicBezTo>
                    <a:pt x="85" y="22"/>
                    <a:pt x="78" y="5"/>
                    <a:pt x="55" y="0"/>
                  </a:cubicBezTo>
                </a:path>
              </a:pathLst>
            </a:custGeom>
            <a:solidFill>
              <a:srgbClr val="EDE5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7" name="任意多边形 236">
              <a:extLst>
                <a:ext uri="{FF2B5EF4-FFF2-40B4-BE49-F238E27FC236}">
                  <a16:creationId xmlns:a16="http://schemas.microsoft.com/office/drawing/2014/main" id="{27D38644-220B-405A-A1FA-19AFBC27C603}"/>
                </a:ext>
              </a:extLst>
            </p:cNvPr>
            <p:cNvSpPr/>
            <p:nvPr/>
          </p:nvSpPr>
          <p:spPr bwMode="auto">
            <a:xfrm>
              <a:off x="7588251" y="3090863"/>
              <a:ext cx="15875" cy="11112"/>
            </a:xfrm>
            <a:custGeom>
              <a:avLst/>
              <a:gdLst>
                <a:gd name="T0" fmla="*/ 6 w 6"/>
                <a:gd name="T1" fmla="*/ 2 h 4"/>
                <a:gd name="T2" fmla="*/ 5 w 6"/>
                <a:gd name="T3" fmla="*/ 2 h 4"/>
                <a:gd name="T4" fmla="*/ 1 w 6"/>
                <a:gd name="T5" fmla="*/ 2 h 4"/>
                <a:gd name="T6" fmla="*/ 1 w 6"/>
                <a:gd name="T7" fmla="*/ 2 h 4"/>
                <a:gd name="T8" fmla="*/ 6 w 6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2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4" y="3"/>
                    <a:pt x="0" y="4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6" y="0"/>
                    <a:pt x="6" y="2"/>
                  </a:cubicBezTo>
                </a:path>
              </a:pathLst>
            </a:custGeom>
            <a:solidFill>
              <a:srgbClr val="EDDF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8" name="任意多边形 237">
              <a:extLst>
                <a:ext uri="{FF2B5EF4-FFF2-40B4-BE49-F238E27FC236}">
                  <a16:creationId xmlns:a16="http://schemas.microsoft.com/office/drawing/2014/main" id="{32347900-83AF-427A-8F5F-70D757F5DF1C}"/>
                </a:ext>
              </a:extLst>
            </p:cNvPr>
            <p:cNvSpPr/>
            <p:nvPr/>
          </p:nvSpPr>
          <p:spPr bwMode="auto">
            <a:xfrm>
              <a:off x="7591426" y="3094038"/>
              <a:ext cx="57150" cy="179387"/>
            </a:xfrm>
            <a:custGeom>
              <a:avLst/>
              <a:gdLst>
                <a:gd name="T0" fmla="*/ 5 w 22"/>
                <a:gd name="T1" fmla="*/ 0 h 69"/>
                <a:gd name="T2" fmla="*/ 5 w 22"/>
                <a:gd name="T3" fmla="*/ 0 h 69"/>
                <a:gd name="T4" fmla="*/ 21 w 22"/>
                <a:gd name="T5" fmla="*/ 67 h 69"/>
                <a:gd name="T6" fmla="*/ 17 w 22"/>
                <a:gd name="T7" fmla="*/ 68 h 69"/>
                <a:gd name="T8" fmla="*/ 16 w 22"/>
                <a:gd name="T9" fmla="*/ 67 h 69"/>
                <a:gd name="T10" fmla="*/ 0 w 22"/>
                <a:gd name="T11" fmla="*/ 2 h 69"/>
                <a:gd name="T12" fmla="*/ 4 w 22"/>
                <a:gd name="T13" fmla="*/ 1 h 69"/>
                <a:gd name="T14" fmla="*/ 5 w 22"/>
                <a:gd name="T1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69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10" y="21"/>
                    <a:pt x="20" y="63"/>
                    <a:pt x="21" y="67"/>
                  </a:cubicBezTo>
                  <a:cubicBezTo>
                    <a:pt x="22" y="69"/>
                    <a:pt x="18" y="69"/>
                    <a:pt x="17" y="68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3" y="2"/>
                    <a:pt x="4" y="1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E8DD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9" name="任意多边形 238">
              <a:extLst>
                <a:ext uri="{FF2B5EF4-FFF2-40B4-BE49-F238E27FC236}">
                  <a16:creationId xmlns:a16="http://schemas.microsoft.com/office/drawing/2014/main" id="{6EE13F04-B5A2-4B40-AB1C-E3D6E4E83E44}"/>
                </a:ext>
              </a:extLst>
            </p:cNvPr>
            <p:cNvSpPr/>
            <p:nvPr/>
          </p:nvSpPr>
          <p:spPr bwMode="auto">
            <a:xfrm>
              <a:off x="7559676" y="3333750"/>
              <a:ext cx="182563" cy="106362"/>
            </a:xfrm>
            <a:custGeom>
              <a:avLst/>
              <a:gdLst>
                <a:gd name="T0" fmla="*/ 70 w 70"/>
                <a:gd name="T1" fmla="*/ 0 h 41"/>
                <a:gd name="T2" fmla="*/ 70 w 70"/>
                <a:gd name="T3" fmla="*/ 20 h 41"/>
                <a:gd name="T4" fmla="*/ 60 w 70"/>
                <a:gd name="T5" fmla="*/ 33 h 41"/>
                <a:gd name="T6" fmla="*/ 11 w 70"/>
                <a:gd name="T7" fmla="*/ 33 h 41"/>
                <a:gd name="T8" fmla="*/ 0 w 70"/>
                <a:gd name="T9" fmla="*/ 19 h 41"/>
                <a:gd name="T10" fmla="*/ 0 w 70"/>
                <a:gd name="T11" fmla="*/ 0 h 41"/>
                <a:gd name="T12" fmla="*/ 11 w 70"/>
                <a:gd name="T13" fmla="*/ 15 h 41"/>
                <a:gd name="T14" fmla="*/ 60 w 70"/>
                <a:gd name="T15" fmla="*/ 15 h 41"/>
                <a:gd name="T16" fmla="*/ 70 w 70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41">
                  <a:moveTo>
                    <a:pt x="70" y="0"/>
                  </a:moveTo>
                  <a:cubicBezTo>
                    <a:pt x="70" y="21"/>
                    <a:pt x="70" y="19"/>
                    <a:pt x="70" y="20"/>
                  </a:cubicBezTo>
                  <a:cubicBezTo>
                    <a:pt x="70" y="24"/>
                    <a:pt x="66" y="29"/>
                    <a:pt x="60" y="33"/>
                  </a:cubicBezTo>
                  <a:cubicBezTo>
                    <a:pt x="46" y="41"/>
                    <a:pt x="24" y="41"/>
                    <a:pt x="11" y="33"/>
                  </a:cubicBezTo>
                  <a:cubicBezTo>
                    <a:pt x="4" y="29"/>
                    <a:pt x="0" y="24"/>
                    <a:pt x="0" y="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4" y="11"/>
                    <a:pt x="11" y="15"/>
                  </a:cubicBezTo>
                  <a:cubicBezTo>
                    <a:pt x="24" y="22"/>
                    <a:pt x="46" y="22"/>
                    <a:pt x="60" y="15"/>
                  </a:cubicBezTo>
                  <a:cubicBezTo>
                    <a:pt x="67" y="11"/>
                    <a:pt x="70" y="5"/>
                    <a:pt x="70" y="0"/>
                  </a:cubicBezTo>
                </a:path>
              </a:pathLst>
            </a:custGeom>
            <a:solidFill>
              <a:srgbClr val="E6AD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0" name="任意多边形 239">
              <a:extLst>
                <a:ext uri="{FF2B5EF4-FFF2-40B4-BE49-F238E27FC236}">
                  <a16:creationId xmlns:a16="http://schemas.microsoft.com/office/drawing/2014/main" id="{FABF6126-B060-4A20-873C-E7206DFAC6EA}"/>
                </a:ext>
              </a:extLst>
            </p:cNvPr>
            <p:cNvSpPr/>
            <p:nvPr/>
          </p:nvSpPr>
          <p:spPr bwMode="auto">
            <a:xfrm>
              <a:off x="7526338" y="2903538"/>
              <a:ext cx="122238" cy="198437"/>
            </a:xfrm>
            <a:custGeom>
              <a:avLst/>
              <a:gdLst>
                <a:gd name="T0" fmla="*/ 26 w 47"/>
                <a:gd name="T1" fmla="*/ 52 h 76"/>
                <a:gd name="T2" fmla="*/ 13 w 47"/>
                <a:gd name="T3" fmla="*/ 72 h 76"/>
                <a:gd name="T4" fmla="*/ 3 w 47"/>
                <a:gd name="T5" fmla="*/ 61 h 76"/>
                <a:gd name="T6" fmla="*/ 32 w 47"/>
                <a:gd name="T7" fmla="*/ 3 h 76"/>
                <a:gd name="T8" fmla="*/ 42 w 47"/>
                <a:gd name="T9" fmla="*/ 4 h 76"/>
                <a:gd name="T10" fmla="*/ 26 w 47"/>
                <a:gd name="T11" fmla="*/ 5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76">
                  <a:moveTo>
                    <a:pt x="26" y="52"/>
                  </a:moveTo>
                  <a:cubicBezTo>
                    <a:pt x="23" y="58"/>
                    <a:pt x="17" y="68"/>
                    <a:pt x="13" y="72"/>
                  </a:cubicBezTo>
                  <a:cubicBezTo>
                    <a:pt x="7" y="76"/>
                    <a:pt x="3" y="68"/>
                    <a:pt x="3" y="61"/>
                  </a:cubicBezTo>
                  <a:cubicBezTo>
                    <a:pt x="0" y="38"/>
                    <a:pt x="15" y="12"/>
                    <a:pt x="32" y="3"/>
                  </a:cubicBezTo>
                  <a:cubicBezTo>
                    <a:pt x="36" y="2"/>
                    <a:pt x="41" y="0"/>
                    <a:pt x="42" y="4"/>
                  </a:cubicBezTo>
                  <a:cubicBezTo>
                    <a:pt x="47" y="12"/>
                    <a:pt x="30" y="44"/>
                    <a:pt x="26" y="52"/>
                  </a:cubicBezTo>
                  <a:close/>
                </a:path>
              </a:pathLst>
            </a:custGeom>
            <a:solidFill>
              <a:srgbClr val="EDEA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241" name="图片 240">
              <a:extLst>
                <a:ext uri="{FF2B5EF4-FFF2-40B4-BE49-F238E27FC236}">
                  <a16:creationId xmlns:a16="http://schemas.microsoft.com/office/drawing/2014/main" id="{E71E0CCE-82D7-4D09-9211-984DE7011A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8413" y="3249613"/>
              <a:ext cx="22225" cy="3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2" name="任意多边形 241">
              <a:extLst>
                <a:ext uri="{FF2B5EF4-FFF2-40B4-BE49-F238E27FC236}">
                  <a16:creationId xmlns:a16="http://schemas.microsoft.com/office/drawing/2014/main" id="{3DBC5A91-D26C-47E5-9D03-52AE1EA7CB91}"/>
                </a:ext>
              </a:extLst>
            </p:cNvPr>
            <p:cNvSpPr/>
            <p:nvPr/>
          </p:nvSpPr>
          <p:spPr bwMode="auto">
            <a:xfrm>
              <a:off x="7623176" y="3263900"/>
              <a:ext cx="17463" cy="25400"/>
            </a:xfrm>
            <a:custGeom>
              <a:avLst/>
              <a:gdLst>
                <a:gd name="T0" fmla="*/ 3 w 7"/>
                <a:gd name="T1" fmla="*/ 0 h 10"/>
                <a:gd name="T2" fmla="*/ 3 w 7"/>
                <a:gd name="T3" fmla="*/ 0 h 10"/>
                <a:gd name="T4" fmla="*/ 2 w 7"/>
                <a:gd name="T5" fmla="*/ 0 h 10"/>
                <a:gd name="T6" fmla="*/ 4 w 7"/>
                <a:gd name="T7" fmla="*/ 8 h 10"/>
                <a:gd name="T8" fmla="*/ 7 w 7"/>
                <a:gd name="T9" fmla="*/ 10 h 10"/>
                <a:gd name="T10" fmla="*/ 7 w 7"/>
                <a:gd name="T11" fmla="*/ 10 h 10"/>
                <a:gd name="T12" fmla="*/ 6 w 7"/>
                <a:gd name="T13" fmla="*/ 8 h 10"/>
                <a:gd name="T14" fmla="*/ 4 w 7"/>
                <a:gd name="T15" fmla="*/ 3 h 10"/>
                <a:gd name="T16" fmla="*/ 4 w 7"/>
                <a:gd name="T17" fmla="*/ 2 h 10"/>
                <a:gd name="T18" fmla="*/ 4 w 7"/>
                <a:gd name="T19" fmla="*/ 2 h 10"/>
                <a:gd name="T20" fmla="*/ 4 w 7"/>
                <a:gd name="T21" fmla="*/ 2 h 10"/>
                <a:gd name="T22" fmla="*/ 4 w 7"/>
                <a:gd name="T23" fmla="*/ 2 h 10"/>
                <a:gd name="T24" fmla="*/ 3 w 7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10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3"/>
                    <a:pt x="1" y="6"/>
                    <a:pt x="4" y="8"/>
                  </a:cubicBezTo>
                  <a:cubicBezTo>
                    <a:pt x="5" y="8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9"/>
                    <a:pt x="7" y="9"/>
                    <a:pt x="6" y="8"/>
                  </a:cubicBezTo>
                  <a:cubicBezTo>
                    <a:pt x="5" y="6"/>
                    <a:pt x="5" y="4"/>
                    <a:pt x="4" y="3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3" y="0"/>
                    <a:pt x="3" y="0"/>
                  </a:cubicBezTo>
                </a:path>
              </a:pathLst>
            </a:custGeom>
            <a:solidFill>
              <a:srgbClr val="896C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3" name="任意多边形 242">
              <a:extLst>
                <a:ext uri="{FF2B5EF4-FFF2-40B4-BE49-F238E27FC236}">
                  <a16:creationId xmlns:a16="http://schemas.microsoft.com/office/drawing/2014/main" id="{F1E17B1A-88AB-4D6B-BC68-A85786DB7C46}"/>
                </a:ext>
              </a:extLst>
            </p:cNvPr>
            <p:cNvSpPr/>
            <p:nvPr/>
          </p:nvSpPr>
          <p:spPr bwMode="auto">
            <a:xfrm>
              <a:off x="7632701" y="3268663"/>
              <a:ext cx="0" cy="3175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1 h 1"/>
                <a:gd name="T5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B9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244" name="图片 243">
              <a:extLst>
                <a:ext uri="{FF2B5EF4-FFF2-40B4-BE49-F238E27FC236}">
                  <a16:creationId xmlns:a16="http://schemas.microsoft.com/office/drawing/2014/main" id="{51BD43CD-B1F5-45A0-93C3-15E24B2F2F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4601" y="3090863"/>
              <a:ext cx="155575" cy="266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5" name="任意多边形 244">
              <a:extLst>
                <a:ext uri="{FF2B5EF4-FFF2-40B4-BE49-F238E27FC236}">
                  <a16:creationId xmlns:a16="http://schemas.microsoft.com/office/drawing/2014/main" id="{F2FEBB4B-4388-4F85-BA44-B1CE65CDD4D7}"/>
                </a:ext>
              </a:extLst>
            </p:cNvPr>
            <p:cNvSpPr/>
            <p:nvPr/>
          </p:nvSpPr>
          <p:spPr bwMode="auto">
            <a:xfrm>
              <a:off x="7705726" y="3162300"/>
              <a:ext cx="7938" cy="1587"/>
            </a:xfrm>
            <a:custGeom>
              <a:avLst/>
              <a:gdLst>
                <a:gd name="T0" fmla="*/ 0 w 3"/>
                <a:gd name="T1" fmla="*/ 1 h 1"/>
                <a:gd name="T2" fmla="*/ 0 w 3"/>
                <a:gd name="T3" fmla="*/ 1 h 1"/>
                <a:gd name="T4" fmla="*/ 1 w 3"/>
                <a:gd name="T5" fmla="*/ 1 h 1"/>
                <a:gd name="T6" fmla="*/ 0 w 3"/>
                <a:gd name="T7" fmla="*/ 1 h 1"/>
                <a:gd name="T8" fmla="*/ 0 w 3"/>
                <a:gd name="T9" fmla="*/ 1 h 1"/>
                <a:gd name="T10" fmla="*/ 3 w 3"/>
                <a:gd name="T11" fmla="*/ 0 h 1"/>
                <a:gd name="T12" fmla="*/ 1 w 3"/>
                <a:gd name="T13" fmla="*/ 1 h 1"/>
                <a:gd name="T14" fmla="*/ 1 w 3"/>
                <a:gd name="T15" fmla="*/ 1 h 1"/>
                <a:gd name="T16" fmla="*/ 3 w 3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3" y="0"/>
                  </a:moveTo>
                  <a:cubicBezTo>
                    <a:pt x="2" y="0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3" y="0"/>
                  </a:cubicBezTo>
                </a:path>
              </a:pathLst>
            </a:custGeom>
            <a:solidFill>
              <a:srgbClr val="AF95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6" name="任意多边形 245">
              <a:extLst>
                <a:ext uri="{FF2B5EF4-FFF2-40B4-BE49-F238E27FC236}">
                  <a16:creationId xmlns:a16="http://schemas.microsoft.com/office/drawing/2014/main" id="{8FE9D129-A039-4F8F-B5A1-8D88EDA285B5}"/>
                </a:ext>
              </a:extLst>
            </p:cNvPr>
            <p:cNvSpPr/>
            <p:nvPr/>
          </p:nvSpPr>
          <p:spPr bwMode="auto">
            <a:xfrm>
              <a:off x="7656513" y="3162300"/>
              <a:ext cx="57150" cy="123825"/>
            </a:xfrm>
            <a:custGeom>
              <a:avLst/>
              <a:gdLst>
                <a:gd name="T0" fmla="*/ 22 w 22"/>
                <a:gd name="T1" fmla="*/ 0 h 48"/>
                <a:gd name="T2" fmla="*/ 22 w 22"/>
                <a:gd name="T3" fmla="*/ 0 h 48"/>
                <a:gd name="T4" fmla="*/ 20 w 22"/>
                <a:gd name="T5" fmla="*/ 1 h 48"/>
                <a:gd name="T6" fmla="*/ 20 w 22"/>
                <a:gd name="T7" fmla="*/ 1 h 48"/>
                <a:gd name="T8" fmla="*/ 20 w 22"/>
                <a:gd name="T9" fmla="*/ 1 h 48"/>
                <a:gd name="T10" fmla="*/ 20 w 22"/>
                <a:gd name="T11" fmla="*/ 1 h 48"/>
                <a:gd name="T12" fmla="*/ 19 w 22"/>
                <a:gd name="T13" fmla="*/ 1 h 48"/>
                <a:gd name="T14" fmla="*/ 7 w 22"/>
                <a:gd name="T15" fmla="*/ 37 h 48"/>
                <a:gd name="T16" fmla="*/ 7 w 22"/>
                <a:gd name="T17" fmla="*/ 37 h 48"/>
                <a:gd name="T18" fmla="*/ 7 w 22"/>
                <a:gd name="T19" fmla="*/ 36 h 48"/>
                <a:gd name="T20" fmla="*/ 6 w 22"/>
                <a:gd name="T21" fmla="*/ 34 h 48"/>
                <a:gd name="T22" fmla="*/ 6 w 22"/>
                <a:gd name="T23" fmla="*/ 34 h 48"/>
                <a:gd name="T24" fmla="*/ 6 w 22"/>
                <a:gd name="T25" fmla="*/ 37 h 48"/>
                <a:gd name="T26" fmla="*/ 6 w 22"/>
                <a:gd name="T27" fmla="*/ 40 h 48"/>
                <a:gd name="T28" fmla="*/ 5 w 22"/>
                <a:gd name="T29" fmla="*/ 39 h 48"/>
                <a:gd name="T30" fmla="*/ 4 w 22"/>
                <a:gd name="T31" fmla="*/ 36 h 48"/>
                <a:gd name="T32" fmla="*/ 0 w 22"/>
                <a:gd name="T33" fmla="*/ 46 h 48"/>
                <a:gd name="T34" fmla="*/ 0 w 22"/>
                <a:gd name="T35" fmla="*/ 47 h 48"/>
                <a:gd name="T36" fmla="*/ 1 w 22"/>
                <a:gd name="T37" fmla="*/ 48 h 48"/>
                <a:gd name="T38" fmla="*/ 3 w 22"/>
                <a:gd name="T39" fmla="*/ 48 h 48"/>
                <a:gd name="T40" fmla="*/ 3 w 22"/>
                <a:gd name="T41" fmla="*/ 48 h 48"/>
                <a:gd name="T42" fmla="*/ 4 w 22"/>
                <a:gd name="T43" fmla="*/ 48 h 48"/>
                <a:gd name="T44" fmla="*/ 5 w 22"/>
                <a:gd name="T45" fmla="*/ 48 h 48"/>
                <a:gd name="T46" fmla="*/ 5 w 22"/>
                <a:gd name="T47" fmla="*/ 47 h 48"/>
                <a:gd name="T48" fmla="*/ 6 w 22"/>
                <a:gd name="T49" fmla="*/ 47 h 48"/>
                <a:gd name="T50" fmla="*/ 8 w 22"/>
                <a:gd name="T51" fmla="*/ 39 h 48"/>
                <a:gd name="T52" fmla="*/ 8 w 22"/>
                <a:gd name="T53" fmla="*/ 39 h 48"/>
                <a:gd name="T54" fmla="*/ 22 w 22"/>
                <a:gd name="T5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" h="48"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6"/>
                  </a:cubicBezTo>
                  <a:cubicBezTo>
                    <a:pt x="6" y="36"/>
                    <a:pt x="6" y="34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4"/>
                    <a:pt x="6" y="35"/>
                    <a:pt x="6" y="37"/>
                  </a:cubicBezTo>
                  <a:cubicBezTo>
                    <a:pt x="6" y="38"/>
                    <a:pt x="6" y="40"/>
                    <a:pt x="6" y="40"/>
                  </a:cubicBezTo>
                  <a:cubicBezTo>
                    <a:pt x="6" y="40"/>
                    <a:pt x="5" y="40"/>
                    <a:pt x="5" y="39"/>
                  </a:cubicBezTo>
                  <a:cubicBezTo>
                    <a:pt x="5" y="38"/>
                    <a:pt x="4" y="36"/>
                    <a:pt x="4" y="3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2" y="48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4" y="48"/>
                    <a:pt x="4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6" y="47"/>
                  </a:cubicBezTo>
                  <a:cubicBezTo>
                    <a:pt x="6" y="44"/>
                    <a:pt x="7" y="42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12" y="28"/>
                    <a:pt x="19" y="8"/>
                    <a:pt x="22" y="0"/>
                  </a:cubicBezTo>
                </a:path>
              </a:pathLst>
            </a:custGeom>
            <a:solidFill>
              <a:srgbClr val="AB9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7" name="任意多边形 246">
              <a:extLst>
                <a:ext uri="{FF2B5EF4-FFF2-40B4-BE49-F238E27FC236}">
                  <a16:creationId xmlns:a16="http://schemas.microsoft.com/office/drawing/2014/main" id="{DBB37B03-455F-4437-AEC1-05E46E018B25}"/>
                </a:ext>
              </a:extLst>
            </p:cNvPr>
            <p:cNvSpPr/>
            <p:nvPr/>
          </p:nvSpPr>
          <p:spPr bwMode="auto">
            <a:xfrm>
              <a:off x="7643813" y="3257550"/>
              <a:ext cx="41275" cy="36512"/>
            </a:xfrm>
            <a:custGeom>
              <a:avLst/>
              <a:gdLst>
                <a:gd name="T0" fmla="*/ 3 w 16"/>
                <a:gd name="T1" fmla="*/ 0 h 14"/>
                <a:gd name="T2" fmla="*/ 2 w 16"/>
                <a:gd name="T3" fmla="*/ 0 h 14"/>
                <a:gd name="T4" fmla="*/ 0 w 16"/>
                <a:gd name="T5" fmla="*/ 0 h 14"/>
                <a:gd name="T6" fmla="*/ 1 w 16"/>
                <a:gd name="T7" fmla="*/ 4 h 14"/>
                <a:gd name="T8" fmla="*/ 1 w 16"/>
                <a:gd name="T9" fmla="*/ 4 h 14"/>
                <a:gd name="T10" fmla="*/ 1 w 16"/>
                <a:gd name="T11" fmla="*/ 4 h 14"/>
                <a:gd name="T12" fmla="*/ 1 w 16"/>
                <a:gd name="T13" fmla="*/ 4 h 14"/>
                <a:gd name="T14" fmla="*/ 0 w 16"/>
                <a:gd name="T15" fmla="*/ 6 h 14"/>
                <a:gd name="T16" fmla="*/ 0 w 16"/>
                <a:gd name="T17" fmla="*/ 6 h 14"/>
                <a:gd name="T18" fmla="*/ 0 w 16"/>
                <a:gd name="T19" fmla="*/ 6 h 14"/>
                <a:gd name="T20" fmla="*/ 2 w 16"/>
                <a:gd name="T21" fmla="*/ 5 h 14"/>
                <a:gd name="T22" fmla="*/ 3 w 16"/>
                <a:gd name="T23" fmla="*/ 5 h 14"/>
                <a:gd name="T24" fmla="*/ 3 w 16"/>
                <a:gd name="T25" fmla="*/ 5 h 14"/>
                <a:gd name="T26" fmla="*/ 3 w 16"/>
                <a:gd name="T27" fmla="*/ 14 h 14"/>
                <a:gd name="T28" fmla="*/ 3 w 16"/>
                <a:gd name="T29" fmla="*/ 14 h 14"/>
                <a:gd name="T30" fmla="*/ 9 w 16"/>
                <a:gd name="T31" fmla="*/ 14 h 14"/>
                <a:gd name="T32" fmla="*/ 12 w 16"/>
                <a:gd name="T33" fmla="*/ 12 h 14"/>
                <a:gd name="T34" fmla="*/ 15 w 16"/>
                <a:gd name="T35" fmla="*/ 10 h 14"/>
                <a:gd name="T36" fmla="*/ 15 w 16"/>
                <a:gd name="T37" fmla="*/ 10 h 14"/>
                <a:gd name="T38" fmla="*/ 16 w 16"/>
                <a:gd name="T39" fmla="*/ 9 h 14"/>
                <a:gd name="T40" fmla="*/ 16 w 16"/>
                <a:gd name="T41" fmla="*/ 8 h 14"/>
                <a:gd name="T42" fmla="*/ 16 w 16"/>
                <a:gd name="T43" fmla="*/ 6 h 14"/>
                <a:gd name="T44" fmla="*/ 14 w 16"/>
                <a:gd name="T45" fmla="*/ 3 h 14"/>
                <a:gd name="T46" fmla="*/ 13 w 16"/>
                <a:gd name="T47" fmla="*/ 2 h 14"/>
                <a:gd name="T48" fmla="*/ 13 w 16"/>
                <a:gd name="T49" fmla="*/ 2 h 14"/>
                <a:gd name="T50" fmla="*/ 13 w 16"/>
                <a:gd name="T51" fmla="*/ 2 h 14"/>
                <a:gd name="T52" fmla="*/ 13 w 16"/>
                <a:gd name="T53" fmla="*/ 2 h 14"/>
                <a:gd name="T54" fmla="*/ 11 w 16"/>
                <a:gd name="T55" fmla="*/ 10 h 14"/>
                <a:gd name="T56" fmla="*/ 10 w 16"/>
                <a:gd name="T57" fmla="*/ 10 h 14"/>
                <a:gd name="T58" fmla="*/ 10 w 16"/>
                <a:gd name="T59" fmla="*/ 10 h 14"/>
                <a:gd name="T60" fmla="*/ 10 w 16"/>
                <a:gd name="T61" fmla="*/ 11 h 14"/>
                <a:gd name="T62" fmla="*/ 9 w 16"/>
                <a:gd name="T63" fmla="*/ 11 h 14"/>
                <a:gd name="T64" fmla="*/ 8 w 16"/>
                <a:gd name="T65" fmla="*/ 11 h 14"/>
                <a:gd name="T66" fmla="*/ 8 w 16"/>
                <a:gd name="T67" fmla="*/ 11 h 14"/>
                <a:gd name="T68" fmla="*/ 6 w 16"/>
                <a:gd name="T69" fmla="*/ 11 h 14"/>
                <a:gd name="T70" fmla="*/ 5 w 16"/>
                <a:gd name="T71" fmla="*/ 9 h 14"/>
                <a:gd name="T72" fmla="*/ 8 w 16"/>
                <a:gd name="T73" fmla="*/ 0 h 14"/>
                <a:gd name="T74" fmla="*/ 8 w 16"/>
                <a:gd name="T75" fmla="*/ 0 h 14"/>
                <a:gd name="T76" fmla="*/ 8 w 16"/>
                <a:gd name="T77" fmla="*/ 0 h 14"/>
                <a:gd name="T78" fmla="*/ 8 w 16"/>
                <a:gd name="T79" fmla="*/ 0 h 14"/>
                <a:gd name="T80" fmla="*/ 6 w 16"/>
                <a:gd name="T81" fmla="*/ 0 h 14"/>
                <a:gd name="T82" fmla="*/ 3 w 16"/>
                <a:gd name="T8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" h="14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1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9"/>
                    <a:pt x="3" y="12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5" y="14"/>
                    <a:pt x="7" y="14"/>
                    <a:pt x="9" y="14"/>
                  </a:cubicBezTo>
                  <a:cubicBezTo>
                    <a:pt x="10" y="13"/>
                    <a:pt x="11" y="13"/>
                    <a:pt x="12" y="12"/>
                  </a:cubicBezTo>
                  <a:cubicBezTo>
                    <a:pt x="13" y="12"/>
                    <a:pt x="14" y="11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9"/>
                    <a:pt x="16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3" y="3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5"/>
                    <a:pt x="11" y="7"/>
                    <a:pt x="11" y="10"/>
                  </a:cubicBezTo>
                  <a:cubicBezTo>
                    <a:pt x="11" y="10"/>
                    <a:pt x="11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9" y="11"/>
                  </a:cubicBezTo>
                  <a:cubicBezTo>
                    <a:pt x="9" y="11"/>
                    <a:pt x="9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6" y="11"/>
                    <a:pt x="6" y="11"/>
                  </a:cubicBezTo>
                  <a:cubicBezTo>
                    <a:pt x="5" y="10"/>
                    <a:pt x="5" y="10"/>
                    <a:pt x="5" y="9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</a:path>
              </a:pathLst>
            </a:custGeom>
            <a:solidFill>
              <a:srgbClr val="896C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8" name="任意多边形 247">
              <a:extLst>
                <a:ext uri="{FF2B5EF4-FFF2-40B4-BE49-F238E27FC236}">
                  <a16:creationId xmlns:a16="http://schemas.microsoft.com/office/drawing/2014/main" id="{1549B8A5-1B1D-437F-9518-98A5A836FDA8}"/>
                </a:ext>
              </a:extLst>
            </p:cNvPr>
            <p:cNvSpPr/>
            <p:nvPr/>
          </p:nvSpPr>
          <p:spPr bwMode="auto">
            <a:xfrm>
              <a:off x="7651751" y="3279775"/>
              <a:ext cx="33338" cy="74612"/>
            </a:xfrm>
            <a:custGeom>
              <a:avLst/>
              <a:gdLst>
                <a:gd name="T0" fmla="*/ 13 w 13"/>
                <a:gd name="T1" fmla="*/ 0 h 29"/>
                <a:gd name="T2" fmla="*/ 13 w 13"/>
                <a:gd name="T3" fmla="*/ 1 h 29"/>
                <a:gd name="T4" fmla="*/ 12 w 13"/>
                <a:gd name="T5" fmla="*/ 2 h 29"/>
                <a:gd name="T6" fmla="*/ 12 w 13"/>
                <a:gd name="T7" fmla="*/ 2 h 29"/>
                <a:gd name="T8" fmla="*/ 6 w 13"/>
                <a:gd name="T9" fmla="*/ 6 h 29"/>
                <a:gd name="T10" fmla="*/ 0 w 13"/>
                <a:gd name="T11" fmla="*/ 6 h 29"/>
                <a:gd name="T12" fmla="*/ 0 w 13"/>
                <a:gd name="T13" fmla="*/ 6 h 29"/>
                <a:gd name="T14" fmla="*/ 0 w 13"/>
                <a:gd name="T15" fmla="*/ 29 h 29"/>
                <a:gd name="T16" fmla="*/ 0 w 13"/>
                <a:gd name="T17" fmla="*/ 29 h 29"/>
                <a:gd name="T18" fmla="*/ 9 w 13"/>
                <a:gd name="T19" fmla="*/ 27 h 29"/>
                <a:gd name="T20" fmla="*/ 13 w 13"/>
                <a:gd name="T21" fmla="*/ 21 h 29"/>
                <a:gd name="T22" fmla="*/ 13 w 13"/>
                <a:gd name="T23" fmla="*/ 8 h 29"/>
                <a:gd name="T24" fmla="*/ 13 w 13"/>
                <a:gd name="T2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29">
                  <a:moveTo>
                    <a:pt x="13" y="0"/>
                  </a:moveTo>
                  <a:cubicBezTo>
                    <a:pt x="13" y="0"/>
                    <a:pt x="13" y="0"/>
                    <a:pt x="13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4"/>
                    <a:pt x="8" y="5"/>
                    <a:pt x="6" y="6"/>
                  </a:cubicBezTo>
                  <a:cubicBezTo>
                    <a:pt x="4" y="6"/>
                    <a:pt x="2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4"/>
                    <a:pt x="0" y="1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29"/>
                    <a:pt x="7" y="28"/>
                    <a:pt x="9" y="27"/>
                  </a:cubicBezTo>
                  <a:cubicBezTo>
                    <a:pt x="11" y="25"/>
                    <a:pt x="13" y="24"/>
                    <a:pt x="13" y="21"/>
                  </a:cubicBezTo>
                  <a:cubicBezTo>
                    <a:pt x="13" y="20"/>
                    <a:pt x="13" y="14"/>
                    <a:pt x="13" y="8"/>
                  </a:cubicBezTo>
                  <a:cubicBezTo>
                    <a:pt x="13" y="5"/>
                    <a:pt x="13" y="3"/>
                    <a:pt x="13" y="0"/>
                  </a:cubicBezTo>
                </a:path>
              </a:pathLst>
            </a:custGeom>
            <a:solidFill>
              <a:srgbClr val="6951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9" name="任意多边形 248">
              <a:extLst>
                <a:ext uri="{FF2B5EF4-FFF2-40B4-BE49-F238E27FC236}">
                  <a16:creationId xmlns:a16="http://schemas.microsoft.com/office/drawing/2014/main" id="{39B87124-D992-4C61-BD88-FFE3D270E08E}"/>
                </a:ext>
              </a:extLst>
            </p:cNvPr>
            <p:cNvSpPr/>
            <p:nvPr/>
          </p:nvSpPr>
          <p:spPr bwMode="auto">
            <a:xfrm>
              <a:off x="7651751" y="3300413"/>
              <a:ext cx="90488" cy="53975"/>
            </a:xfrm>
            <a:custGeom>
              <a:avLst/>
              <a:gdLst>
                <a:gd name="T0" fmla="*/ 13 w 35"/>
                <a:gd name="T1" fmla="*/ 0 h 21"/>
                <a:gd name="T2" fmla="*/ 13 w 35"/>
                <a:gd name="T3" fmla="*/ 13 h 21"/>
                <a:gd name="T4" fmla="*/ 13 w 35"/>
                <a:gd name="T5" fmla="*/ 13 h 21"/>
                <a:gd name="T6" fmla="*/ 9 w 35"/>
                <a:gd name="T7" fmla="*/ 19 h 21"/>
                <a:gd name="T8" fmla="*/ 0 w 35"/>
                <a:gd name="T9" fmla="*/ 21 h 21"/>
                <a:gd name="T10" fmla="*/ 0 w 35"/>
                <a:gd name="T11" fmla="*/ 21 h 21"/>
                <a:gd name="T12" fmla="*/ 0 w 35"/>
                <a:gd name="T13" fmla="*/ 21 h 21"/>
                <a:gd name="T14" fmla="*/ 11 w 35"/>
                <a:gd name="T15" fmla="*/ 21 h 21"/>
                <a:gd name="T16" fmla="*/ 29 w 35"/>
                <a:gd name="T17" fmla="*/ 21 h 21"/>
                <a:gd name="T18" fmla="*/ 32 w 35"/>
                <a:gd name="T19" fmla="*/ 20 h 21"/>
                <a:gd name="T20" fmla="*/ 33 w 35"/>
                <a:gd name="T21" fmla="*/ 20 h 21"/>
                <a:gd name="T22" fmla="*/ 33 w 35"/>
                <a:gd name="T23" fmla="*/ 20 h 21"/>
                <a:gd name="T24" fmla="*/ 34 w 35"/>
                <a:gd name="T25" fmla="*/ 18 h 21"/>
                <a:gd name="T26" fmla="*/ 35 w 35"/>
                <a:gd name="T27" fmla="*/ 15 h 21"/>
                <a:gd name="T28" fmla="*/ 35 w 35"/>
                <a:gd name="T29" fmla="*/ 11 h 21"/>
                <a:gd name="T30" fmla="*/ 34 w 35"/>
                <a:gd name="T31" fmla="*/ 8 h 21"/>
                <a:gd name="T32" fmla="*/ 33 w 35"/>
                <a:gd name="T33" fmla="*/ 7 h 21"/>
                <a:gd name="T34" fmla="*/ 29 w 35"/>
                <a:gd name="T35" fmla="*/ 7 h 21"/>
                <a:gd name="T36" fmla="*/ 28 w 35"/>
                <a:gd name="T37" fmla="*/ 6 h 21"/>
                <a:gd name="T38" fmla="*/ 32 w 35"/>
                <a:gd name="T39" fmla="*/ 5 h 21"/>
                <a:gd name="T40" fmla="*/ 29 w 35"/>
                <a:gd name="T41" fmla="*/ 2 h 21"/>
                <a:gd name="T42" fmla="*/ 19 w 35"/>
                <a:gd name="T43" fmla="*/ 7 h 21"/>
                <a:gd name="T44" fmla="*/ 13 w 35"/>
                <a:gd name="T45" fmla="*/ 6 h 21"/>
                <a:gd name="T46" fmla="*/ 13 w 35"/>
                <a:gd name="T4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" h="21">
                  <a:moveTo>
                    <a:pt x="13" y="0"/>
                  </a:moveTo>
                  <a:cubicBezTo>
                    <a:pt x="13" y="5"/>
                    <a:pt x="13" y="9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6"/>
                    <a:pt x="11" y="17"/>
                    <a:pt x="9" y="19"/>
                  </a:cubicBezTo>
                  <a:cubicBezTo>
                    <a:pt x="7" y="20"/>
                    <a:pt x="4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6" y="21"/>
                    <a:pt x="11" y="21"/>
                  </a:cubicBezTo>
                  <a:cubicBezTo>
                    <a:pt x="19" y="21"/>
                    <a:pt x="29" y="21"/>
                    <a:pt x="29" y="21"/>
                  </a:cubicBezTo>
                  <a:cubicBezTo>
                    <a:pt x="30" y="21"/>
                    <a:pt x="31" y="20"/>
                    <a:pt x="32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19"/>
                    <a:pt x="34" y="18"/>
                    <a:pt x="34" y="18"/>
                  </a:cubicBezTo>
                  <a:cubicBezTo>
                    <a:pt x="35" y="17"/>
                    <a:pt x="35" y="16"/>
                    <a:pt x="35" y="15"/>
                  </a:cubicBezTo>
                  <a:cubicBezTo>
                    <a:pt x="35" y="13"/>
                    <a:pt x="35" y="12"/>
                    <a:pt x="35" y="11"/>
                  </a:cubicBezTo>
                  <a:cubicBezTo>
                    <a:pt x="35" y="10"/>
                    <a:pt x="34" y="9"/>
                    <a:pt x="34" y="8"/>
                  </a:cubicBezTo>
                  <a:cubicBezTo>
                    <a:pt x="34" y="8"/>
                    <a:pt x="33" y="8"/>
                    <a:pt x="33" y="7"/>
                  </a:cubicBezTo>
                  <a:cubicBezTo>
                    <a:pt x="32" y="7"/>
                    <a:pt x="30" y="7"/>
                    <a:pt x="29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7" y="7"/>
                    <a:pt x="15" y="6"/>
                    <a:pt x="13" y="6"/>
                  </a:cubicBezTo>
                  <a:cubicBezTo>
                    <a:pt x="13" y="4"/>
                    <a:pt x="13" y="2"/>
                    <a:pt x="13" y="0"/>
                  </a:cubicBezTo>
                </a:path>
              </a:pathLst>
            </a:custGeom>
            <a:solidFill>
              <a:srgbClr val="AF99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0" name="任意多边形 249">
              <a:extLst>
                <a:ext uri="{FF2B5EF4-FFF2-40B4-BE49-F238E27FC236}">
                  <a16:creationId xmlns:a16="http://schemas.microsoft.com/office/drawing/2014/main" id="{ECB584E4-BD15-4BD2-B138-BBBCBDC743FF}"/>
                </a:ext>
              </a:extLst>
            </p:cNvPr>
            <p:cNvSpPr/>
            <p:nvPr/>
          </p:nvSpPr>
          <p:spPr bwMode="auto">
            <a:xfrm>
              <a:off x="7602538" y="3097213"/>
              <a:ext cx="44450" cy="176212"/>
            </a:xfrm>
            <a:custGeom>
              <a:avLst/>
              <a:gdLst>
                <a:gd name="T0" fmla="*/ 1 w 17"/>
                <a:gd name="T1" fmla="*/ 0 h 68"/>
                <a:gd name="T2" fmla="*/ 0 w 17"/>
                <a:gd name="T3" fmla="*/ 1 h 68"/>
                <a:gd name="T4" fmla="*/ 16 w 17"/>
                <a:gd name="T5" fmla="*/ 68 h 68"/>
                <a:gd name="T6" fmla="*/ 17 w 17"/>
                <a:gd name="T7" fmla="*/ 66 h 68"/>
                <a:gd name="T8" fmla="*/ 17 w 17"/>
                <a:gd name="T9" fmla="*/ 66 h 68"/>
                <a:gd name="T10" fmla="*/ 17 w 17"/>
                <a:gd name="T11" fmla="*/ 66 h 68"/>
                <a:gd name="T12" fmla="*/ 17 w 17"/>
                <a:gd name="T13" fmla="*/ 66 h 68"/>
                <a:gd name="T14" fmla="*/ 1 w 17"/>
                <a:gd name="T1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68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6" y="65"/>
                    <a:pt x="16" y="68"/>
                  </a:cubicBezTo>
                  <a:cubicBezTo>
                    <a:pt x="17" y="67"/>
                    <a:pt x="17" y="67"/>
                    <a:pt x="17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6" y="62"/>
                    <a:pt x="6" y="21"/>
                    <a:pt x="1" y="0"/>
                  </a:cubicBezTo>
                </a:path>
              </a:pathLst>
            </a:custGeom>
            <a:solidFill>
              <a:srgbClr val="AB9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1" name="任意多边形 250">
              <a:extLst>
                <a:ext uri="{FF2B5EF4-FFF2-40B4-BE49-F238E27FC236}">
                  <a16:creationId xmlns:a16="http://schemas.microsoft.com/office/drawing/2014/main" id="{5F3CB6A1-4078-4137-8713-B48602659D8D}"/>
                </a:ext>
              </a:extLst>
            </p:cNvPr>
            <p:cNvSpPr/>
            <p:nvPr/>
          </p:nvSpPr>
          <p:spPr bwMode="auto">
            <a:xfrm>
              <a:off x="7573963" y="3417888"/>
              <a:ext cx="179388" cy="190500"/>
            </a:xfrm>
            <a:custGeom>
              <a:avLst/>
              <a:gdLst>
                <a:gd name="T0" fmla="*/ 65 w 69"/>
                <a:gd name="T1" fmla="*/ 73 h 73"/>
                <a:gd name="T2" fmla="*/ 65 w 69"/>
                <a:gd name="T3" fmla="*/ 72 h 73"/>
                <a:gd name="T4" fmla="*/ 65 w 69"/>
                <a:gd name="T5" fmla="*/ 72 h 73"/>
                <a:gd name="T6" fmla="*/ 65 w 69"/>
                <a:gd name="T7" fmla="*/ 72 h 73"/>
                <a:gd name="T8" fmla="*/ 48 w 69"/>
                <a:gd name="T9" fmla="*/ 68 h 73"/>
                <a:gd name="T10" fmla="*/ 55 w 69"/>
                <a:gd name="T11" fmla="*/ 64 h 73"/>
                <a:gd name="T12" fmla="*/ 57 w 69"/>
                <a:gd name="T13" fmla="*/ 71 h 73"/>
                <a:gd name="T14" fmla="*/ 62 w 69"/>
                <a:gd name="T15" fmla="*/ 64 h 73"/>
                <a:gd name="T16" fmla="*/ 62 w 69"/>
                <a:gd name="T17" fmla="*/ 64 h 73"/>
                <a:gd name="T18" fmla="*/ 60 w 69"/>
                <a:gd name="T19" fmla="*/ 59 h 73"/>
                <a:gd name="T20" fmla="*/ 60 w 69"/>
                <a:gd name="T21" fmla="*/ 59 h 73"/>
                <a:gd name="T22" fmla="*/ 60 w 69"/>
                <a:gd name="T23" fmla="*/ 59 h 73"/>
                <a:gd name="T24" fmla="*/ 60 w 69"/>
                <a:gd name="T25" fmla="*/ 59 h 73"/>
                <a:gd name="T26" fmla="*/ 60 w 69"/>
                <a:gd name="T27" fmla="*/ 59 h 73"/>
                <a:gd name="T28" fmla="*/ 60 w 69"/>
                <a:gd name="T29" fmla="*/ 59 h 73"/>
                <a:gd name="T30" fmla="*/ 61 w 69"/>
                <a:gd name="T31" fmla="*/ 59 h 73"/>
                <a:gd name="T32" fmla="*/ 61 w 69"/>
                <a:gd name="T33" fmla="*/ 59 h 73"/>
                <a:gd name="T34" fmla="*/ 55 w 69"/>
                <a:gd name="T35" fmla="*/ 49 h 73"/>
                <a:gd name="T36" fmla="*/ 28 w 69"/>
                <a:gd name="T37" fmla="*/ 58 h 73"/>
                <a:gd name="T38" fmla="*/ 55 w 69"/>
                <a:gd name="T39" fmla="*/ 49 h 73"/>
                <a:gd name="T40" fmla="*/ 61 w 69"/>
                <a:gd name="T41" fmla="*/ 59 h 73"/>
                <a:gd name="T42" fmla="*/ 65 w 69"/>
                <a:gd name="T43" fmla="*/ 49 h 73"/>
                <a:gd name="T44" fmla="*/ 55 w 69"/>
                <a:gd name="T45" fmla="*/ 49 h 73"/>
                <a:gd name="T46" fmla="*/ 54 w 69"/>
                <a:gd name="T47" fmla="*/ 42 h 73"/>
                <a:gd name="T48" fmla="*/ 35 w 69"/>
                <a:gd name="T49" fmla="*/ 49 h 73"/>
                <a:gd name="T50" fmla="*/ 62 w 69"/>
                <a:gd name="T51" fmla="*/ 42 h 73"/>
                <a:gd name="T52" fmla="*/ 62 w 69"/>
                <a:gd name="T53" fmla="*/ 42 h 73"/>
                <a:gd name="T54" fmla="*/ 54 w 69"/>
                <a:gd name="T55" fmla="*/ 42 h 73"/>
                <a:gd name="T56" fmla="*/ 63 w 69"/>
                <a:gd name="T57" fmla="*/ 39 h 73"/>
                <a:gd name="T58" fmla="*/ 63 w 69"/>
                <a:gd name="T59" fmla="*/ 40 h 73"/>
                <a:gd name="T60" fmla="*/ 62 w 69"/>
                <a:gd name="T61" fmla="*/ 34 h 73"/>
                <a:gd name="T62" fmla="*/ 62 w 69"/>
                <a:gd name="T63" fmla="*/ 34 h 73"/>
                <a:gd name="T64" fmla="*/ 62 w 69"/>
                <a:gd name="T65" fmla="*/ 34 h 73"/>
                <a:gd name="T66" fmla="*/ 62 w 69"/>
                <a:gd name="T67" fmla="*/ 34 h 73"/>
                <a:gd name="T68" fmla="*/ 62 w 69"/>
                <a:gd name="T69" fmla="*/ 34 h 73"/>
                <a:gd name="T70" fmla="*/ 0 w 69"/>
                <a:gd name="T71" fmla="*/ 27 h 73"/>
                <a:gd name="T72" fmla="*/ 4 w 69"/>
                <a:gd name="T73" fmla="*/ 29 h 73"/>
                <a:gd name="T74" fmla="*/ 3 w 69"/>
                <a:gd name="T75" fmla="*/ 29 h 73"/>
                <a:gd name="T76" fmla="*/ 0 w 69"/>
                <a:gd name="T77" fmla="*/ 27 h 73"/>
                <a:gd name="T78" fmla="*/ 27 w 69"/>
                <a:gd name="T79" fmla="*/ 15 h 73"/>
                <a:gd name="T80" fmla="*/ 27 w 69"/>
                <a:gd name="T81" fmla="*/ 15 h 73"/>
                <a:gd name="T82" fmla="*/ 69 w 69"/>
                <a:gd name="T83" fmla="*/ 0 h 73"/>
                <a:gd name="T84" fmla="*/ 62 w 69"/>
                <a:gd name="T85" fmla="*/ 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9" h="73">
                  <a:moveTo>
                    <a:pt x="65" y="72"/>
                  </a:moveTo>
                  <a:cubicBezTo>
                    <a:pt x="65" y="72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moveTo>
                    <a:pt x="55" y="64"/>
                  </a:moveTo>
                  <a:cubicBezTo>
                    <a:pt x="53" y="66"/>
                    <a:pt x="50" y="67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50" y="67"/>
                    <a:pt x="53" y="66"/>
                    <a:pt x="55" y="64"/>
                  </a:cubicBezTo>
                  <a:moveTo>
                    <a:pt x="62" y="64"/>
                  </a:moveTo>
                  <a:cubicBezTo>
                    <a:pt x="61" y="67"/>
                    <a:pt x="59" y="69"/>
                    <a:pt x="57" y="71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9" y="69"/>
                    <a:pt x="61" y="67"/>
                    <a:pt x="62" y="64"/>
                  </a:cubicBezTo>
                  <a:moveTo>
                    <a:pt x="63" y="64"/>
                  </a:move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3" y="64"/>
                  </a:cubicBezTo>
                  <a:moveTo>
                    <a:pt x="60" y="59"/>
                  </a:moveTo>
                  <a:cubicBezTo>
                    <a:pt x="60" y="59"/>
                    <a:pt x="60" y="59"/>
                    <a:pt x="60" y="59"/>
                  </a:cubicBezTo>
                  <a:cubicBezTo>
                    <a:pt x="60" y="59"/>
                    <a:pt x="60" y="59"/>
                    <a:pt x="60" y="59"/>
                  </a:cubicBezTo>
                  <a:moveTo>
                    <a:pt x="60" y="59"/>
                  </a:moveTo>
                  <a:cubicBezTo>
                    <a:pt x="60" y="59"/>
                    <a:pt x="60" y="59"/>
                    <a:pt x="60" y="59"/>
                  </a:cubicBezTo>
                  <a:cubicBezTo>
                    <a:pt x="60" y="59"/>
                    <a:pt x="60" y="59"/>
                    <a:pt x="60" y="59"/>
                  </a:cubicBezTo>
                  <a:moveTo>
                    <a:pt x="60" y="59"/>
                  </a:moveTo>
                  <a:cubicBezTo>
                    <a:pt x="60" y="59"/>
                    <a:pt x="60" y="59"/>
                    <a:pt x="60" y="59"/>
                  </a:cubicBezTo>
                  <a:cubicBezTo>
                    <a:pt x="60" y="59"/>
                    <a:pt x="60" y="59"/>
                    <a:pt x="60" y="59"/>
                  </a:cubicBezTo>
                  <a:moveTo>
                    <a:pt x="60" y="59"/>
                  </a:moveTo>
                  <a:cubicBezTo>
                    <a:pt x="60" y="59"/>
                    <a:pt x="60" y="59"/>
                    <a:pt x="60" y="59"/>
                  </a:cubicBezTo>
                  <a:cubicBezTo>
                    <a:pt x="60" y="59"/>
                    <a:pt x="60" y="59"/>
                    <a:pt x="60" y="59"/>
                  </a:cubicBezTo>
                  <a:moveTo>
                    <a:pt x="61" y="59"/>
                  </a:moveTo>
                  <a:cubicBezTo>
                    <a:pt x="60" y="59"/>
                    <a:pt x="60" y="59"/>
                    <a:pt x="60" y="59"/>
                  </a:cubicBezTo>
                  <a:cubicBezTo>
                    <a:pt x="60" y="59"/>
                    <a:pt x="60" y="59"/>
                    <a:pt x="61" y="59"/>
                  </a:cubicBezTo>
                  <a:moveTo>
                    <a:pt x="55" y="49"/>
                  </a:moveTo>
                  <a:cubicBezTo>
                    <a:pt x="55" y="49"/>
                    <a:pt x="55" y="49"/>
                    <a:pt x="55" y="49"/>
                  </a:cubicBezTo>
                  <a:cubicBezTo>
                    <a:pt x="47" y="55"/>
                    <a:pt x="37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7" y="58"/>
                    <a:pt x="47" y="55"/>
                    <a:pt x="55" y="49"/>
                  </a:cubicBezTo>
                  <a:cubicBezTo>
                    <a:pt x="55" y="49"/>
                    <a:pt x="55" y="49"/>
                    <a:pt x="55" y="49"/>
                  </a:cubicBezTo>
                  <a:moveTo>
                    <a:pt x="65" y="49"/>
                  </a:moveTo>
                  <a:cubicBezTo>
                    <a:pt x="64" y="53"/>
                    <a:pt x="63" y="56"/>
                    <a:pt x="61" y="59"/>
                  </a:cubicBezTo>
                  <a:cubicBezTo>
                    <a:pt x="63" y="56"/>
                    <a:pt x="64" y="53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moveTo>
                    <a:pt x="62" y="42"/>
                  </a:moveTo>
                  <a:cubicBezTo>
                    <a:pt x="60" y="45"/>
                    <a:pt x="58" y="47"/>
                    <a:pt x="55" y="49"/>
                  </a:cubicBezTo>
                  <a:cubicBezTo>
                    <a:pt x="58" y="47"/>
                    <a:pt x="60" y="45"/>
                    <a:pt x="62" y="42"/>
                  </a:cubicBezTo>
                  <a:moveTo>
                    <a:pt x="54" y="42"/>
                  </a:moveTo>
                  <a:cubicBezTo>
                    <a:pt x="49" y="46"/>
                    <a:pt x="42" y="48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42" y="48"/>
                    <a:pt x="49" y="46"/>
                    <a:pt x="54" y="42"/>
                  </a:cubicBezTo>
                  <a:moveTo>
                    <a:pt x="62" y="42"/>
                  </a:move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moveTo>
                    <a:pt x="55" y="41"/>
                  </a:move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5" y="41"/>
                  </a:cubicBezTo>
                  <a:moveTo>
                    <a:pt x="63" y="39"/>
                  </a:move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3" y="39"/>
                    <a:pt x="63" y="39"/>
                  </a:cubicBezTo>
                  <a:moveTo>
                    <a:pt x="62" y="34"/>
                  </a:move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moveTo>
                    <a:pt x="62" y="34"/>
                  </a:move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moveTo>
                    <a:pt x="62" y="34"/>
                  </a:move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moveTo>
                    <a:pt x="0" y="27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2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2" y="28"/>
                    <a:pt x="1" y="28"/>
                    <a:pt x="0" y="27"/>
                  </a:cubicBezTo>
                  <a:moveTo>
                    <a:pt x="27" y="15"/>
                  </a:move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moveTo>
                    <a:pt x="69" y="0"/>
                  </a:moveTo>
                  <a:cubicBezTo>
                    <a:pt x="67" y="3"/>
                    <a:pt x="65" y="5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5" y="5"/>
                    <a:pt x="67" y="3"/>
                    <a:pt x="69" y="0"/>
                  </a:cubicBezTo>
                </a:path>
              </a:pathLst>
            </a:custGeom>
            <a:solidFill>
              <a:srgbClr val="BCA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2" name="任意多边形 251">
              <a:extLst>
                <a:ext uri="{FF2B5EF4-FFF2-40B4-BE49-F238E27FC236}">
                  <a16:creationId xmlns:a16="http://schemas.microsoft.com/office/drawing/2014/main" id="{818C20F5-5EA8-41ED-B7FC-0EA79CCDD0E8}"/>
                </a:ext>
              </a:extLst>
            </p:cNvPr>
            <p:cNvSpPr/>
            <p:nvPr/>
          </p:nvSpPr>
          <p:spPr bwMode="auto">
            <a:xfrm>
              <a:off x="7583488" y="3435350"/>
              <a:ext cx="161925" cy="112712"/>
            </a:xfrm>
            <a:custGeom>
              <a:avLst/>
              <a:gdLst>
                <a:gd name="T0" fmla="*/ 20 w 62"/>
                <a:gd name="T1" fmla="*/ 43 h 43"/>
                <a:gd name="T2" fmla="*/ 20 w 62"/>
                <a:gd name="T3" fmla="*/ 43 h 43"/>
                <a:gd name="T4" fmla="*/ 20 w 62"/>
                <a:gd name="T5" fmla="*/ 43 h 43"/>
                <a:gd name="T6" fmla="*/ 31 w 62"/>
                <a:gd name="T7" fmla="*/ 42 h 43"/>
                <a:gd name="T8" fmla="*/ 58 w 62"/>
                <a:gd name="T9" fmla="*/ 27 h 43"/>
                <a:gd name="T10" fmla="*/ 58 w 62"/>
                <a:gd name="T11" fmla="*/ 27 h 43"/>
                <a:gd name="T12" fmla="*/ 58 w 62"/>
                <a:gd name="T13" fmla="*/ 27 h 43"/>
                <a:gd name="T14" fmla="*/ 58 w 62"/>
                <a:gd name="T15" fmla="*/ 26 h 43"/>
                <a:gd name="T16" fmla="*/ 58 w 62"/>
                <a:gd name="T17" fmla="*/ 26 h 43"/>
                <a:gd name="T18" fmla="*/ 58 w 62"/>
                <a:gd name="T19" fmla="*/ 26 h 43"/>
                <a:gd name="T20" fmla="*/ 58 w 62"/>
                <a:gd name="T21" fmla="*/ 26 h 43"/>
                <a:gd name="T22" fmla="*/ 58 w 62"/>
                <a:gd name="T23" fmla="*/ 26 h 43"/>
                <a:gd name="T24" fmla="*/ 58 w 62"/>
                <a:gd name="T25" fmla="*/ 26 h 43"/>
                <a:gd name="T26" fmla="*/ 58 w 62"/>
                <a:gd name="T27" fmla="*/ 26 h 43"/>
                <a:gd name="T28" fmla="*/ 58 w 62"/>
                <a:gd name="T29" fmla="*/ 26 h 43"/>
                <a:gd name="T30" fmla="*/ 58 w 62"/>
                <a:gd name="T31" fmla="*/ 26 h 43"/>
                <a:gd name="T32" fmla="*/ 59 w 62"/>
                <a:gd name="T33" fmla="*/ 26 h 43"/>
                <a:gd name="T34" fmla="*/ 59 w 62"/>
                <a:gd name="T35" fmla="*/ 26 h 43"/>
                <a:gd name="T36" fmla="*/ 59 w 62"/>
                <a:gd name="T37" fmla="*/ 26 h 43"/>
                <a:gd name="T38" fmla="*/ 1 w 62"/>
                <a:gd name="T39" fmla="*/ 25 h 43"/>
                <a:gd name="T40" fmla="*/ 11 w 62"/>
                <a:gd name="T41" fmla="*/ 28 h 43"/>
                <a:gd name="T42" fmla="*/ 1 w 62"/>
                <a:gd name="T43" fmla="*/ 23 h 43"/>
                <a:gd name="T44" fmla="*/ 5 w 62"/>
                <a:gd name="T45" fmla="*/ 24 h 43"/>
                <a:gd name="T46" fmla="*/ 1 w 62"/>
                <a:gd name="T47" fmla="*/ 23 h 43"/>
                <a:gd name="T48" fmla="*/ 0 w 62"/>
                <a:gd name="T49" fmla="*/ 22 h 43"/>
                <a:gd name="T50" fmla="*/ 0 w 62"/>
                <a:gd name="T51" fmla="*/ 22 h 43"/>
                <a:gd name="T52" fmla="*/ 61 w 62"/>
                <a:gd name="T53" fmla="*/ 19 h 43"/>
                <a:gd name="T54" fmla="*/ 61 w 62"/>
                <a:gd name="T55" fmla="*/ 19 h 43"/>
                <a:gd name="T56" fmla="*/ 62 w 62"/>
                <a:gd name="T57" fmla="*/ 16 h 43"/>
                <a:gd name="T58" fmla="*/ 52 w 62"/>
                <a:gd name="T59" fmla="*/ 23 h 43"/>
                <a:gd name="T60" fmla="*/ 61 w 62"/>
                <a:gd name="T61" fmla="*/ 17 h 43"/>
                <a:gd name="T62" fmla="*/ 61 w 62"/>
                <a:gd name="T63" fmla="*/ 17 h 43"/>
                <a:gd name="T64" fmla="*/ 61 w 62"/>
                <a:gd name="T65" fmla="*/ 17 h 43"/>
                <a:gd name="T66" fmla="*/ 61 w 62"/>
                <a:gd name="T67" fmla="*/ 17 h 43"/>
                <a:gd name="T68" fmla="*/ 56 w 62"/>
                <a:gd name="T69" fmla="*/ 1 h 43"/>
                <a:gd name="T70" fmla="*/ 26 w 62"/>
                <a:gd name="T71" fmla="*/ 8 h 43"/>
                <a:gd name="T72" fmla="*/ 23 w 62"/>
                <a:gd name="T73" fmla="*/ 8 h 43"/>
                <a:gd name="T74" fmla="*/ 56 w 62"/>
                <a:gd name="T75" fmla="*/ 1 h 43"/>
                <a:gd name="T76" fmla="*/ 56 w 62"/>
                <a:gd name="T77" fmla="*/ 1 h 43"/>
                <a:gd name="T78" fmla="*/ 56 w 62"/>
                <a:gd name="T79" fmla="*/ 1 h 43"/>
                <a:gd name="T80" fmla="*/ 56 w 62"/>
                <a:gd name="T81" fmla="*/ 1 h 43"/>
                <a:gd name="T82" fmla="*/ 56 w 62"/>
                <a:gd name="T83" fmla="*/ 1 h 43"/>
                <a:gd name="T84" fmla="*/ 56 w 62"/>
                <a:gd name="T85" fmla="*/ 1 h 43"/>
                <a:gd name="T86" fmla="*/ 56 w 62"/>
                <a:gd name="T87" fmla="*/ 1 h 43"/>
                <a:gd name="T88" fmla="*/ 58 w 62"/>
                <a:gd name="T8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2" h="43">
                  <a:moveTo>
                    <a:pt x="20" y="43"/>
                  </a:move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3"/>
                    <a:pt x="20" y="43"/>
                    <a:pt x="20" y="43"/>
                  </a:cubicBezTo>
                  <a:moveTo>
                    <a:pt x="31" y="42"/>
                  </a:moveTo>
                  <a:cubicBezTo>
                    <a:pt x="27" y="43"/>
                    <a:pt x="24" y="43"/>
                    <a:pt x="20" y="43"/>
                  </a:cubicBezTo>
                  <a:cubicBezTo>
                    <a:pt x="24" y="43"/>
                    <a:pt x="27" y="43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moveTo>
                    <a:pt x="58" y="27"/>
                  </a:moveTo>
                  <a:cubicBezTo>
                    <a:pt x="58" y="27"/>
                    <a:pt x="58" y="27"/>
                    <a:pt x="58" y="27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58" y="27"/>
                    <a:pt x="58" y="27"/>
                    <a:pt x="58" y="27"/>
                  </a:cubicBezTo>
                  <a:moveTo>
                    <a:pt x="58" y="27"/>
                  </a:moveTo>
                  <a:cubicBezTo>
                    <a:pt x="58" y="27"/>
                    <a:pt x="58" y="27"/>
                    <a:pt x="58" y="27"/>
                  </a:cubicBezTo>
                  <a:cubicBezTo>
                    <a:pt x="58" y="27"/>
                    <a:pt x="58" y="27"/>
                    <a:pt x="58" y="27"/>
                  </a:cubicBezTo>
                  <a:moveTo>
                    <a:pt x="58" y="26"/>
                  </a:moveTo>
                  <a:cubicBezTo>
                    <a:pt x="58" y="26"/>
                    <a:pt x="58" y="27"/>
                    <a:pt x="58" y="27"/>
                  </a:cubicBezTo>
                  <a:cubicBezTo>
                    <a:pt x="58" y="27"/>
                    <a:pt x="58" y="26"/>
                    <a:pt x="58" y="26"/>
                  </a:cubicBezTo>
                  <a:moveTo>
                    <a:pt x="58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moveTo>
                    <a:pt x="58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moveTo>
                    <a:pt x="58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moveTo>
                    <a:pt x="58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moveTo>
                    <a:pt x="58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moveTo>
                    <a:pt x="59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9" y="26"/>
                  </a:cubicBezTo>
                  <a:moveTo>
                    <a:pt x="59" y="26"/>
                  </a:moveTo>
                  <a:cubicBezTo>
                    <a:pt x="59" y="26"/>
                    <a:pt x="59" y="26"/>
                    <a:pt x="59" y="26"/>
                  </a:cubicBezTo>
                  <a:cubicBezTo>
                    <a:pt x="59" y="26"/>
                    <a:pt x="59" y="26"/>
                    <a:pt x="59" y="26"/>
                  </a:cubicBezTo>
                  <a:moveTo>
                    <a:pt x="1" y="25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4" y="26"/>
                    <a:pt x="7" y="27"/>
                    <a:pt x="11" y="28"/>
                  </a:cubicBezTo>
                  <a:cubicBezTo>
                    <a:pt x="7" y="27"/>
                    <a:pt x="4" y="26"/>
                    <a:pt x="1" y="25"/>
                  </a:cubicBezTo>
                  <a:moveTo>
                    <a:pt x="1" y="23"/>
                  </a:moveTo>
                  <a:cubicBezTo>
                    <a:pt x="5" y="25"/>
                    <a:pt x="10" y="26"/>
                    <a:pt x="15" y="27"/>
                  </a:cubicBezTo>
                  <a:cubicBezTo>
                    <a:pt x="11" y="26"/>
                    <a:pt x="8" y="25"/>
                    <a:pt x="5" y="24"/>
                  </a:cubicBezTo>
                  <a:cubicBezTo>
                    <a:pt x="4" y="24"/>
                    <a:pt x="3" y="24"/>
                    <a:pt x="2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moveTo>
                    <a:pt x="0" y="2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moveTo>
                    <a:pt x="61" y="19"/>
                  </a:moveTo>
                  <a:cubicBezTo>
                    <a:pt x="61" y="22"/>
                    <a:pt x="60" y="24"/>
                    <a:pt x="59" y="26"/>
                  </a:cubicBezTo>
                  <a:cubicBezTo>
                    <a:pt x="60" y="24"/>
                    <a:pt x="61" y="22"/>
                    <a:pt x="61" y="19"/>
                  </a:cubicBezTo>
                  <a:cubicBezTo>
                    <a:pt x="61" y="19"/>
                    <a:pt x="61" y="19"/>
                    <a:pt x="61" y="19"/>
                  </a:cubicBezTo>
                  <a:moveTo>
                    <a:pt x="62" y="16"/>
                  </a:moveTo>
                  <a:cubicBezTo>
                    <a:pt x="60" y="18"/>
                    <a:pt x="58" y="19"/>
                    <a:pt x="56" y="21"/>
                  </a:cubicBezTo>
                  <a:cubicBezTo>
                    <a:pt x="55" y="21"/>
                    <a:pt x="53" y="22"/>
                    <a:pt x="52" y="23"/>
                  </a:cubicBezTo>
                  <a:cubicBezTo>
                    <a:pt x="55" y="21"/>
                    <a:pt x="58" y="19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2" y="17"/>
                    <a:pt x="62" y="16"/>
                  </a:cubicBezTo>
                  <a:moveTo>
                    <a:pt x="56" y="1"/>
                  </a:moveTo>
                  <a:cubicBezTo>
                    <a:pt x="56" y="1"/>
                    <a:pt x="56" y="1"/>
                    <a:pt x="56" y="1"/>
                  </a:cubicBezTo>
                  <a:cubicBezTo>
                    <a:pt x="48" y="6"/>
                    <a:pt x="37" y="8"/>
                    <a:pt x="26" y="8"/>
                  </a:cubicBezTo>
                  <a:cubicBezTo>
                    <a:pt x="25" y="8"/>
                    <a:pt x="24" y="8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8"/>
                    <a:pt x="25" y="8"/>
                    <a:pt x="26" y="8"/>
                  </a:cubicBezTo>
                  <a:cubicBezTo>
                    <a:pt x="37" y="8"/>
                    <a:pt x="48" y="6"/>
                    <a:pt x="56" y="1"/>
                  </a:cubicBezTo>
                  <a:cubicBezTo>
                    <a:pt x="56" y="1"/>
                    <a:pt x="56" y="1"/>
                    <a:pt x="56" y="1"/>
                  </a:cubicBezTo>
                  <a:moveTo>
                    <a:pt x="56" y="1"/>
                  </a:moveTo>
                  <a:cubicBezTo>
                    <a:pt x="56" y="1"/>
                    <a:pt x="56" y="1"/>
                    <a:pt x="56" y="1"/>
                  </a:cubicBezTo>
                  <a:cubicBezTo>
                    <a:pt x="56" y="1"/>
                    <a:pt x="56" y="1"/>
                    <a:pt x="56" y="1"/>
                  </a:cubicBezTo>
                  <a:moveTo>
                    <a:pt x="56" y="1"/>
                  </a:moveTo>
                  <a:cubicBezTo>
                    <a:pt x="56" y="1"/>
                    <a:pt x="56" y="1"/>
                    <a:pt x="56" y="1"/>
                  </a:cubicBezTo>
                  <a:cubicBezTo>
                    <a:pt x="56" y="1"/>
                    <a:pt x="56" y="1"/>
                    <a:pt x="56" y="1"/>
                  </a:cubicBezTo>
                  <a:moveTo>
                    <a:pt x="56" y="1"/>
                  </a:moveTo>
                  <a:cubicBezTo>
                    <a:pt x="56" y="1"/>
                    <a:pt x="56" y="1"/>
                    <a:pt x="56" y="1"/>
                  </a:cubicBezTo>
                  <a:cubicBezTo>
                    <a:pt x="56" y="1"/>
                    <a:pt x="56" y="1"/>
                    <a:pt x="56" y="1"/>
                  </a:cubicBezTo>
                  <a:moveTo>
                    <a:pt x="58" y="0"/>
                  </a:moveTo>
                  <a:cubicBezTo>
                    <a:pt x="58" y="0"/>
                    <a:pt x="57" y="1"/>
                    <a:pt x="56" y="1"/>
                  </a:cubicBezTo>
                  <a:cubicBezTo>
                    <a:pt x="57" y="1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solidFill>
              <a:srgbClr val="AD9B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3" name="任意多边形 252">
              <a:extLst>
                <a:ext uri="{FF2B5EF4-FFF2-40B4-BE49-F238E27FC236}">
                  <a16:creationId xmlns:a16="http://schemas.microsoft.com/office/drawing/2014/main" id="{101E65A2-D9E7-465F-AF5F-D9BE372AF4A7}"/>
                </a:ext>
              </a:extLst>
            </p:cNvPr>
            <p:cNvSpPr/>
            <p:nvPr/>
          </p:nvSpPr>
          <p:spPr bwMode="auto">
            <a:xfrm>
              <a:off x="7640638" y="3594100"/>
              <a:ext cx="101600" cy="92075"/>
            </a:xfrm>
            <a:custGeom>
              <a:avLst/>
              <a:gdLst>
                <a:gd name="T0" fmla="*/ 0 w 39"/>
                <a:gd name="T1" fmla="*/ 35 h 35"/>
                <a:gd name="T2" fmla="*/ 1 w 39"/>
                <a:gd name="T3" fmla="*/ 35 h 35"/>
                <a:gd name="T4" fmla="*/ 1 w 39"/>
                <a:gd name="T5" fmla="*/ 35 h 35"/>
                <a:gd name="T6" fmla="*/ 1 w 39"/>
                <a:gd name="T7" fmla="*/ 35 h 35"/>
                <a:gd name="T8" fmla="*/ 0 w 39"/>
                <a:gd name="T9" fmla="*/ 35 h 35"/>
                <a:gd name="T10" fmla="*/ 0 w 39"/>
                <a:gd name="T11" fmla="*/ 35 h 35"/>
                <a:gd name="T12" fmla="*/ 9 w 39"/>
                <a:gd name="T13" fmla="*/ 27 h 35"/>
                <a:gd name="T14" fmla="*/ 9 w 39"/>
                <a:gd name="T15" fmla="*/ 27 h 35"/>
                <a:gd name="T16" fmla="*/ 8 w 39"/>
                <a:gd name="T17" fmla="*/ 27 h 35"/>
                <a:gd name="T18" fmla="*/ 6 w 39"/>
                <a:gd name="T19" fmla="*/ 28 h 35"/>
                <a:gd name="T20" fmla="*/ 6 w 39"/>
                <a:gd name="T21" fmla="*/ 28 h 35"/>
                <a:gd name="T22" fmla="*/ 6 w 39"/>
                <a:gd name="T23" fmla="*/ 28 h 35"/>
                <a:gd name="T24" fmla="*/ 2 w 39"/>
                <a:gd name="T25" fmla="*/ 28 h 35"/>
                <a:gd name="T26" fmla="*/ 2 w 39"/>
                <a:gd name="T27" fmla="*/ 28 h 35"/>
                <a:gd name="T28" fmla="*/ 2 w 39"/>
                <a:gd name="T29" fmla="*/ 28 h 35"/>
                <a:gd name="T30" fmla="*/ 2 w 39"/>
                <a:gd name="T31" fmla="*/ 28 h 35"/>
                <a:gd name="T32" fmla="*/ 8 w 39"/>
                <a:gd name="T33" fmla="*/ 27 h 35"/>
                <a:gd name="T34" fmla="*/ 9 w 39"/>
                <a:gd name="T35" fmla="*/ 27 h 35"/>
                <a:gd name="T36" fmla="*/ 9 w 39"/>
                <a:gd name="T37" fmla="*/ 27 h 35"/>
                <a:gd name="T38" fmla="*/ 30 w 39"/>
                <a:gd name="T39" fmla="*/ 18 h 35"/>
                <a:gd name="T40" fmla="*/ 29 w 39"/>
                <a:gd name="T41" fmla="*/ 19 h 35"/>
                <a:gd name="T42" fmla="*/ 10 w 39"/>
                <a:gd name="T43" fmla="*/ 27 h 35"/>
                <a:gd name="T44" fmla="*/ 10 w 39"/>
                <a:gd name="T45" fmla="*/ 27 h 35"/>
                <a:gd name="T46" fmla="*/ 10 w 39"/>
                <a:gd name="T47" fmla="*/ 27 h 35"/>
                <a:gd name="T48" fmla="*/ 10 w 39"/>
                <a:gd name="T49" fmla="*/ 27 h 35"/>
                <a:gd name="T50" fmla="*/ 10 w 39"/>
                <a:gd name="T51" fmla="*/ 27 h 35"/>
                <a:gd name="T52" fmla="*/ 10 w 39"/>
                <a:gd name="T53" fmla="*/ 27 h 35"/>
                <a:gd name="T54" fmla="*/ 10 w 39"/>
                <a:gd name="T55" fmla="*/ 27 h 35"/>
                <a:gd name="T56" fmla="*/ 10 w 39"/>
                <a:gd name="T57" fmla="*/ 27 h 35"/>
                <a:gd name="T58" fmla="*/ 24 w 39"/>
                <a:gd name="T59" fmla="*/ 22 h 35"/>
                <a:gd name="T60" fmla="*/ 27 w 39"/>
                <a:gd name="T61" fmla="*/ 20 h 35"/>
                <a:gd name="T62" fmla="*/ 29 w 39"/>
                <a:gd name="T63" fmla="*/ 19 h 35"/>
                <a:gd name="T64" fmla="*/ 30 w 39"/>
                <a:gd name="T65" fmla="*/ 18 h 35"/>
                <a:gd name="T66" fmla="*/ 37 w 39"/>
                <a:gd name="T67" fmla="*/ 11 h 35"/>
                <a:gd name="T68" fmla="*/ 35 w 39"/>
                <a:gd name="T69" fmla="*/ 14 h 35"/>
                <a:gd name="T70" fmla="*/ 35 w 39"/>
                <a:gd name="T71" fmla="*/ 12 h 35"/>
                <a:gd name="T72" fmla="*/ 37 w 39"/>
                <a:gd name="T73" fmla="*/ 11 h 35"/>
                <a:gd name="T74" fmla="*/ 37 w 39"/>
                <a:gd name="T75" fmla="*/ 9 h 35"/>
                <a:gd name="T76" fmla="*/ 37 w 39"/>
                <a:gd name="T77" fmla="*/ 10 h 35"/>
                <a:gd name="T78" fmla="*/ 37 w 39"/>
                <a:gd name="T79" fmla="*/ 9 h 35"/>
                <a:gd name="T80" fmla="*/ 38 w 39"/>
                <a:gd name="T81" fmla="*/ 8 h 35"/>
                <a:gd name="T82" fmla="*/ 37 w 39"/>
                <a:gd name="T83" fmla="*/ 9 h 35"/>
                <a:gd name="T84" fmla="*/ 38 w 39"/>
                <a:gd name="T85" fmla="*/ 8 h 35"/>
                <a:gd name="T86" fmla="*/ 38 w 39"/>
                <a:gd name="T87" fmla="*/ 7 h 35"/>
                <a:gd name="T88" fmla="*/ 38 w 39"/>
                <a:gd name="T89" fmla="*/ 8 h 35"/>
                <a:gd name="T90" fmla="*/ 38 w 39"/>
                <a:gd name="T91" fmla="*/ 7 h 35"/>
                <a:gd name="T92" fmla="*/ 39 w 39"/>
                <a:gd name="T93" fmla="*/ 5 h 35"/>
                <a:gd name="T94" fmla="*/ 39 w 39"/>
                <a:gd name="T95" fmla="*/ 5 h 35"/>
                <a:gd name="T96" fmla="*/ 39 w 39"/>
                <a:gd name="T97" fmla="*/ 5 h 35"/>
                <a:gd name="T98" fmla="*/ 39 w 39"/>
                <a:gd name="T99" fmla="*/ 5 h 35"/>
                <a:gd name="T100" fmla="*/ 31 w 39"/>
                <a:gd name="T101" fmla="*/ 3 h 35"/>
                <a:gd name="T102" fmla="*/ 29 w 39"/>
                <a:gd name="T103" fmla="*/ 4 h 35"/>
                <a:gd name="T104" fmla="*/ 29 w 39"/>
                <a:gd name="T105" fmla="*/ 4 h 35"/>
                <a:gd name="T106" fmla="*/ 29 w 39"/>
                <a:gd name="T107" fmla="*/ 4 h 35"/>
                <a:gd name="T108" fmla="*/ 31 w 39"/>
                <a:gd name="T109" fmla="*/ 3 h 35"/>
                <a:gd name="T110" fmla="*/ 31 w 39"/>
                <a:gd name="T111" fmla="*/ 3 h 35"/>
                <a:gd name="T112" fmla="*/ 22 w 39"/>
                <a:gd name="T113" fmla="*/ 0 h 35"/>
                <a:gd name="T114" fmla="*/ 10 w 39"/>
                <a:gd name="T115" fmla="*/ 4 h 35"/>
                <a:gd name="T116" fmla="*/ 10 w 39"/>
                <a:gd name="T117" fmla="*/ 4 h 35"/>
                <a:gd name="T118" fmla="*/ 22 w 39"/>
                <a:gd name="T119" fmla="*/ 0 h 35"/>
                <a:gd name="T120" fmla="*/ 22 w 39"/>
                <a:gd name="T12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" h="35">
                  <a:moveTo>
                    <a:pt x="0" y="35"/>
                  </a:moveTo>
                  <a:cubicBezTo>
                    <a:pt x="0" y="35"/>
                    <a:pt x="0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moveTo>
                    <a:pt x="9" y="27"/>
                  </a:moveTo>
                  <a:cubicBezTo>
                    <a:pt x="9" y="27"/>
                    <a:pt x="9" y="27"/>
                    <a:pt x="9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7"/>
                    <a:pt x="7" y="27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4" y="28"/>
                    <a:pt x="3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4" y="28"/>
                    <a:pt x="6" y="28"/>
                    <a:pt x="8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moveTo>
                    <a:pt x="30" y="18"/>
                  </a:moveTo>
                  <a:cubicBezTo>
                    <a:pt x="29" y="19"/>
                    <a:pt x="29" y="19"/>
                    <a:pt x="29" y="19"/>
                  </a:cubicBezTo>
                  <a:cubicBezTo>
                    <a:pt x="24" y="23"/>
                    <a:pt x="17" y="25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5" y="26"/>
                    <a:pt x="20" y="24"/>
                    <a:pt x="24" y="22"/>
                  </a:cubicBezTo>
                  <a:cubicBezTo>
                    <a:pt x="25" y="22"/>
                    <a:pt x="26" y="21"/>
                    <a:pt x="27" y="20"/>
                  </a:cubicBezTo>
                  <a:cubicBezTo>
                    <a:pt x="28" y="20"/>
                    <a:pt x="28" y="19"/>
                    <a:pt x="29" y="19"/>
                  </a:cubicBezTo>
                  <a:cubicBezTo>
                    <a:pt x="29" y="19"/>
                    <a:pt x="29" y="19"/>
                    <a:pt x="30" y="18"/>
                  </a:cubicBezTo>
                  <a:moveTo>
                    <a:pt x="37" y="11"/>
                  </a:moveTo>
                  <a:cubicBezTo>
                    <a:pt x="36" y="12"/>
                    <a:pt x="35" y="13"/>
                    <a:pt x="35" y="14"/>
                  </a:cubicBezTo>
                  <a:cubicBezTo>
                    <a:pt x="35" y="13"/>
                    <a:pt x="35" y="13"/>
                    <a:pt x="35" y="12"/>
                  </a:cubicBezTo>
                  <a:cubicBezTo>
                    <a:pt x="36" y="12"/>
                    <a:pt x="36" y="11"/>
                    <a:pt x="37" y="11"/>
                  </a:cubicBezTo>
                  <a:moveTo>
                    <a:pt x="37" y="9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9"/>
                  </a:cubicBezTo>
                  <a:moveTo>
                    <a:pt x="38" y="8"/>
                  </a:moveTo>
                  <a:cubicBezTo>
                    <a:pt x="38" y="8"/>
                    <a:pt x="38" y="9"/>
                    <a:pt x="37" y="9"/>
                  </a:cubicBezTo>
                  <a:cubicBezTo>
                    <a:pt x="38" y="9"/>
                    <a:pt x="38" y="8"/>
                    <a:pt x="38" y="8"/>
                  </a:cubicBezTo>
                  <a:moveTo>
                    <a:pt x="38" y="7"/>
                  </a:moveTo>
                  <a:cubicBezTo>
                    <a:pt x="38" y="7"/>
                    <a:pt x="38" y="7"/>
                    <a:pt x="38" y="8"/>
                  </a:cubicBezTo>
                  <a:cubicBezTo>
                    <a:pt x="38" y="8"/>
                    <a:pt x="38" y="7"/>
                    <a:pt x="38" y="7"/>
                  </a:cubicBezTo>
                  <a:moveTo>
                    <a:pt x="39" y="5"/>
                  </a:move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moveTo>
                    <a:pt x="31" y="3"/>
                  </a:moveTo>
                  <a:cubicBezTo>
                    <a:pt x="30" y="3"/>
                    <a:pt x="30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0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moveTo>
                    <a:pt x="22" y="0"/>
                  </a:moveTo>
                  <a:cubicBezTo>
                    <a:pt x="18" y="2"/>
                    <a:pt x="14" y="3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3"/>
                    <a:pt x="18" y="2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826F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4" name="任意多边形 253">
              <a:extLst>
                <a:ext uri="{FF2B5EF4-FFF2-40B4-BE49-F238E27FC236}">
                  <a16:creationId xmlns:a16="http://schemas.microsoft.com/office/drawing/2014/main" id="{80CA372B-9A9F-4E1B-B81F-C77D4CF14F73}"/>
                </a:ext>
              </a:extLst>
            </p:cNvPr>
            <p:cNvSpPr/>
            <p:nvPr/>
          </p:nvSpPr>
          <p:spPr bwMode="auto">
            <a:xfrm>
              <a:off x="7573963" y="3403600"/>
              <a:ext cx="187325" cy="104775"/>
            </a:xfrm>
            <a:custGeom>
              <a:avLst/>
              <a:gdLst>
                <a:gd name="T0" fmla="*/ 9 w 72"/>
                <a:gd name="T1" fmla="*/ 36 h 40"/>
                <a:gd name="T2" fmla="*/ 19 w 72"/>
                <a:gd name="T3" fmla="*/ 39 h 40"/>
                <a:gd name="T4" fmla="*/ 22 w 72"/>
                <a:gd name="T5" fmla="*/ 39 h 40"/>
                <a:gd name="T6" fmla="*/ 22 w 72"/>
                <a:gd name="T7" fmla="*/ 39 h 40"/>
                <a:gd name="T8" fmla="*/ 20 w 72"/>
                <a:gd name="T9" fmla="*/ 39 h 40"/>
                <a:gd name="T10" fmla="*/ 11 w 72"/>
                <a:gd name="T11" fmla="*/ 37 h 40"/>
                <a:gd name="T12" fmla="*/ 11 w 72"/>
                <a:gd name="T13" fmla="*/ 37 h 40"/>
                <a:gd name="T14" fmla="*/ 9 w 72"/>
                <a:gd name="T15" fmla="*/ 36 h 40"/>
                <a:gd name="T16" fmla="*/ 5 w 72"/>
                <a:gd name="T17" fmla="*/ 35 h 40"/>
                <a:gd name="T18" fmla="*/ 6 w 72"/>
                <a:gd name="T19" fmla="*/ 35 h 40"/>
                <a:gd name="T20" fmla="*/ 5 w 72"/>
                <a:gd name="T21" fmla="*/ 35 h 40"/>
                <a:gd name="T22" fmla="*/ 5 w 72"/>
                <a:gd name="T23" fmla="*/ 35 h 40"/>
                <a:gd name="T24" fmla="*/ 0 w 72"/>
                <a:gd name="T25" fmla="*/ 32 h 40"/>
                <a:gd name="T26" fmla="*/ 0 w 72"/>
                <a:gd name="T27" fmla="*/ 32 h 40"/>
                <a:gd name="T28" fmla="*/ 0 w 72"/>
                <a:gd name="T29" fmla="*/ 32 h 40"/>
                <a:gd name="T30" fmla="*/ 3 w 72"/>
                <a:gd name="T31" fmla="*/ 34 h 40"/>
                <a:gd name="T32" fmla="*/ 1 w 72"/>
                <a:gd name="T33" fmla="*/ 33 h 40"/>
                <a:gd name="T34" fmla="*/ 0 w 72"/>
                <a:gd name="T35" fmla="*/ 32 h 40"/>
                <a:gd name="T36" fmla="*/ 72 w 72"/>
                <a:gd name="T37" fmla="*/ 0 h 40"/>
                <a:gd name="T38" fmla="*/ 69 w 72"/>
                <a:gd name="T39" fmla="*/ 5 h 40"/>
                <a:gd name="T40" fmla="*/ 62 w 72"/>
                <a:gd name="T41" fmla="*/ 12 h 40"/>
                <a:gd name="T42" fmla="*/ 60 w 72"/>
                <a:gd name="T43" fmla="*/ 13 h 40"/>
                <a:gd name="T44" fmla="*/ 60 w 72"/>
                <a:gd name="T45" fmla="*/ 13 h 40"/>
                <a:gd name="T46" fmla="*/ 60 w 72"/>
                <a:gd name="T47" fmla="*/ 13 h 40"/>
                <a:gd name="T48" fmla="*/ 60 w 72"/>
                <a:gd name="T49" fmla="*/ 13 h 40"/>
                <a:gd name="T50" fmla="*/ 60 w 72"/>
                <a:gd name="T51" fmla="*/ 13 h 40"/>
                <a:gd name="T52" fmla="*/ 60 w 72"/>
                <a:gd name="T53" fmla="*/ 13 h 40"/>
                <a:gd name="T54" fmla="*/ 60 w 72"/>
                <a:gd name="T55" fmla="*/ 13 h 40"/>
                <a:gd name="T56" fmla="*/ 60 w 72"/>
                <a:gd name="T57" fmla="*/ 13 h 40"/>
                <a:gd name="T58" fmla="*/ 60 w 72"/>
                <a:gd name="T59" fmla="*/ 13 h 40"/>
                <a:gd name="T60" fmla="*/ 30 w 72"/>
                <a:gd name="T61" fmla="*/ 20 h 40"/>
                <a:gd name="T62" fmla="*/ 27 w 72"/>
                <a:gd name="T63" fmla="*/ 20 h 40"/>
                <a:gd name="T64" fmla="*/ 27 w 72"/>
                <a:gd name="T65" fmla="*/ 20 h 40"/>
                <a:gd name="T66" fmla="*/ 27 w 72"/>
                <a:gd name="T67" fmla="*/ 40 h 40"/>
                <a:gd name="T68" fmla="*/ 30 w 72"/>
                <a:gd name="T69" fmla="*/ 40 h 40"/>
                <a:gd name="T70" fmla="*/ 35 w 72"/>
                <a:gd name="T71" fmla="*/ 40 h 40"/>
                <a:gd name="T72" fmla="*/ 35 w 72"/>
                <a:gd name="T73" fmla="*/ 40 h 40"/>
                <a:gd name="T74" fmla="*/ 35 w 72"/>
                <a:gd name="T75" fmla="*/ 40 h 40"/>
                <a:gd name="T76" fmla="*/ 35 w 72"/>
                <a:gd name="T77" fmla="*/ 40 h 40"/>
                <a:gd name="T78" fmla="*/ 35 w 72"/>
                <a:gd name="T79" fmla="*/ 40 h 40"/>
                <a:gd name="T80" fmla="*/ 56 w 72"/>
                <a:gd name="T81" fmla="*/ 35 h 40"/>
                <a:gd name="T82" fmla="*/ 60 w 72"/>
                <a:gd name="T83" fmla="*/ 33 h 40"/>
                <a:gd name="T84" fmla="*/ 66 w 72"/>
                <a:gd name="T85" fmla="*/ 28 h 40"/>
                <a:gd name="T86" fmla="*/ 66 w 72"/>
                <a:gd name="T87" fmla="*/ 28 h 40"/>
                <a:gd name="T88" fmla="*/ 66 w 72"/>
                <a:gd name="T89" fmla="*/ 28 h 40"/>
                <a:gd name="T90" fmla="*/ 72 w 72"/>
                <a:gd name="T91" fmla="*/ 18 h 40"/>
                <a:gd name="T92" fmla="*/ 72 w 72"/>
                <a:gd name="T9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" h="40">
                  <a:moveTo>
                    <a:pt x="9" y="36"/>
                  </a:moveTo>
                  <a:cubicBezTo>
                    <a:pt x="12" y="37"/>
                    <a:pt x="15" y="38"/>
                    <a:pt x="19" y="39"/>
                  </a:cubicBezTo>
                  <a:cubicBezTo>
                    <a:pt x="20" y="39"/>
                    <a:pt x="21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1" y="39"/>
                    <a:pt x="21" y="39"/>
                    <a:pt x="20" y="39"/>
                  </a:cubicBezTo>
                  <a:cubicBezTo>
                    <a:pt x="17" y="39"/>
                    <a:pt x="14" y="38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0" y="37"/>
                    <a:pt x="10" y="37"/>
                    <a:pt x="9" y="36"/>
                  </a:cubicBezTo>
                  <a:moveTo>
                    <a:pt x="5" y="35"/>
                  </a:moveTo>
                  <a:cubicBezTo>
                    <a:pt x="5" y="35"/>
                    <a:pt x="5" y="35"/>
                    <a:pt x="6" y="35"/>
                  </a:cubicBezTo>
                  <a:cubicBezTo>
                    <a:pt x="6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moveTo>
                    <a:pt x="0" y="3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33"/>
                    <a:pt x="2" y="33"/>
                    <a:pt x="3" y="34"/>
                  </a:cubicBezTo>
                  <a:cubicBezTo>
                    <a:pt x="3" y="34"/>
                    <a:pt x="2" y="33"/>
                    <a:pt x="1" y="33"/>
                  </a:cubicBezTo>
                  <a:cubicBezTo>
                    <a:pt x="1" y="33"/>
                    <a:pt x="1" y="32"/>
                    <a:pt x="0" y="32"/>
                  </a:cubicBezTo>
                  <a:moveTo>
                    <a:pt x="72" y="0"/>
                  </a:moveTo>
                  <a:cubicBezTo>
                    <a:pt x="71" y="2"/>
                    <a:pt x="70" y="4"/>
                    <a:pt x="69" y="5"/>
                  </a:cubicBezTo>
                  <a:cubicBezTo>
                    <a:pt x="67" y="8"/>
                    <a:pt x="65" y="10"/>
                    <a:pt x="62" y="12"/>
                  </a:cubicBezTo>
                  <a:cubicBezTo>
                    <a:pt x="62" y="12"/>
                    <a:pt x="61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52" y="18"/>
                    <a:pt x="41" y="20"/>
                    <a:pt x="30" y="20"/>
                  </a:cubicBezTo>
                  <a:cubicBezTo>
                    <a:pt x="29" y="20"/>
                    <a:pt x="28" y="20"/>
                    <a:pt x="27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5"/>
                    <a:pt x="27" y="36"/>
                    <a:pt x="27" y="40"/>
                  </a:cubicBezTo>
                  <a:cubicBezTo>
                    <a:pt x="28" y="40"/>
                    <a:pt x="29" y="40"/>
                    <a:pt x="30" y="40"/>
                  </a:cubicBezTo>
                  <a:cubicBezTo>
                    <a:pt x="32" y="40"/>
                    <a:pt x="34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2" y="39"/>
                    <a:pt x="50" y="38"/>
                    <a:pt x="56" y="35"/>
                  </a:cubicBezTo>
                  <a:cubicBezTo>
                    <a:pt x="57" y="34"/>
                    <a:pt x="59" y="33"/>
                    <a:pt x="60" y="33"/>
                  </a:cubicBezTo>
                  <a:cubicBezTo>
                    <a:pt x="62" y="31"/>
                    <a:pt x="64" y="30"/>
                    <a:pt x="66" y="28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9" y="24"/>
                    <a:pt x="70" y="23"/>
                    <a:pt x="72" y="18"/>
                  </a:cubicBezTo>
                  <a:cubicBezTo>
                    <a:pt x="72" y="9"/>
                    <a:pt x="72" y="3"/>
                    <a:pt x="72" y="0"/>
                  </a:cubicBezTo>
                </a:path>
              </a:pathLst>
            </a:custGeom>
            <a:solidFill>
              <a:srgbClr val="826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5" name="任意多边形 254">
              <a:extLst>
                <a:ext uri="{FF2B5EF4-FFF2-40B4-BE49-F238E27FC236}">
                  <a16:creationId xmlns:a16="http://schemas.microsoft.com/office/drawing/2014/main" id="{BF8A2CF3-80E4-466F-BEA2-8F878396704A}"/>
                </a:ext>
              </a:extLst>
            </p:cNvPr>
            <p:cNvSpPr/>
            <p:nvPr/>
          </p:nvSpPr>
          <p:spPr bwMode="auto">
            <a:xfrm>
              <a:off x="7643813" y="3390900"/>
              <a:ext cx="117475" cy="65087"/>
            </a:xfrm>
            <a:custGeom>
              <a:avLst/>
              <a:gdLst>
                <a:gd name="T0" fmla="*/ 45 w 45"/>
                <a:gd name="T1" fmla="*/ 0 h 25"/>
                <a:gd name="T2" fmla="*/ 42 w 45"/>
                <a:gd name="T3" fmla="*/ 7 h 25"/>
                <a:gd name="T4" fmla="*/ 41 w 45"/>
                <a:gd name="T5" fmla="*/ 8 h 25"/>
                <a:gd name="T6" fmla="*/ 31 w 45"/>
                <a:gd name="T7" fmla="*/ 17 h 25"/>
                <a:gd name="T8" fmla="*/ 29 w 45"/>
                <a:gd name="T9" fmla="*/ 18 h 25"/>
                <a:gd name="T10" fmla="*/ 29 w 45"/>
                <a:gd name="T11" fmla="*/ 18 h 25"/>
                <a:gd name="T12" fmla="*/ 29 w 45"/>
                <a:gd name="T13" fmla="*/ 18 h 25"/>
                <a:gd name="T14" fmla="*/ 27 w 45"/>
                <a:gd name="T15" fmla="*/ 19 h 25"/>
                <a:gd name="T16" fmla="*/ 5 w 45"/>
                <a:gd name="T17" fmla="*/ 24 h 25"/>
                <a:gd name="T18" fmla="*/ 0 w 45"/>
                <a:gd name="T19" fmla="*/ 24 h 25"/>
                <a:gd name="T20" fmla="*/ 0 w 45"/>
                <a:gd name="T21" fmla="*/ 25 h 25"/>
                <a:gd name="T22" fmla="*/ 0 w 45"/>
                <a:gd name="T23" fmla="*/ 25 h 25"/>
                <a:gd name="T24" fmla="*/ 0 w 45"/>
                <a:gd name="T25" fmla="*/ 25 h 25"/>
                <a:gd name="T26" fmla="*/ 3 w 45"/>
                <a:gd name="T27" fmla="*/ 25 h 25"/>
                <a:gd name="T28" fmla="*/ 33 w 45"/>
                <a:gd name="T29" fmla="*/ 18 h 25"/>
                <a:gd name="T30" fmla="*/ 33 w 45"/>
                <a:gd name="T31" fmla="*/ 18 h 25"/>
                <a:gd name="T32" fmla="*/ 33 w 45"/>
                <a:gd name="T33" fmla="*/ 18 h 25"/>
                <a:gd name="T34" fmla="*/ 33 w 45"/>
                <a:gd name="T35" fmla="*/ 18 h 25"/>
                <a:gd name="T36" fmla="*/ 33 w 45"/>
                <a:gd name="T37" fmla="*/ 18 h 25"/>
                <a:gd name="T38" fmla="*/ 33 w 45"/>
                <a:gd name="T39" fmla="*/ 18 h 25"/>
                <a:gd name="T40" fmla="*/ 33 w 45"/>
                <a:gd name="T41" fmla="*/ 18 h 25"/>
                <a:gd name="T42" fmla="*/ 33 w 45"/>
                <a:gd name="T43" fmla="*/ 18 h 25"/>
                <a:gd name="T44" fmla="*/ 33 w 45"/>
                <a:gd name="T45" fmla="*/ 18 h 25"/>
                <a:gd name="T46" fmla="*/ 35 w 45"/>
                <a:gd name="T47" fmla="*/ 17 h 25"/>
                <a:gd name="T48" fmla="*/ 42 w 45"/>
                <a:gd name="T49" fmla="*/ 10 h 25"/>
                <a:gd name="T50" fmla="*/ 45 w 45"/>
                <a:gd name="T51" fmla="*/ 5 h 25"/>
                <a:gd name="T52" fmla="*/ 45 w 45"/>
                <a:gd name="T53" fmla="*/ 5 h 25"/>
                <a:gd name="T54" fmla="*/ 45 w 45"/>
                <a:gd name="T5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5" h="25">
                  <a:moveTo>
                    <a:pt x="45" y="0"/>
                  </a:moveTo>
                  <a:cubicBezTo>
                    <a:pt x="43" y="4"/>
                    <a:pt x="42" y="6"/>
                    <a:pt x="42" y="7"/>
                  </a:cubicBezTo>
                  <a:cubicBezTo>
                    <a:pt x="41" y="7"/>
                    <a:pt x="41" y="7"/>
                    <a:pt x="41" y="8"/>
                  </a:cubicBezTo>
                  <a:cubicBezTo>
                    <a:pt x="39" y="12"/>
                    <a:pt x="35" y="15"/>
                    <a:pt x="31" y="17"/>
                  </a:cubicBezTo>
                  <a:cubicBezTo>
                    <a:pt x="30" y="18"/>
                    <a:pt x="30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8" y="19"/>
                    <a:pt x="27" y="19"/>
                  </a:cubicBezTo>
                  <a:cubicBezTo>
                    <a:pt x="17" y="23"/>
                    <a:pt x="12" y="24"/>
                    <a:pt x="5" y="24"/>
                  </a:cubicBezTo>
                  <a:cubicBezTo>
                    <a:pt x="3" y="24"/>
                    <a:pt x="2" y="24"/>
                    <a:pt x="0" y="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5"/>
                    <a:pt x="2" y="25"/>
                    <a:pt x="3" y="25"/>
                  </a:cubicBezTo>
                  <a:cubicBezTo>
                    <a:pt x="14" y="25"/>
                    <a:pt x="25" y="23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4" y="18"/>
                    <a:pt x="35" y="17"/>
                    <a:pt x="35" y="17"/>
                  </a:cubicBezTo>
                  <a:cubicBezTo>
                    <a:pt x="38" y="15"/>
                    <a:pt x="40" y="13"/>
                    <a:pt x="42" y="10"/>
                  </a:cubicBezTo>
                  <a:cubicBezTo>
                    <a:pt x="43" y="9"/>
                    <a:pt x="44" y="7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2"/>
                    <a:pt x="45" y="1"/>
                    <a:pt x="45" y="0"/>
                  </a:cubicBezTo>
                </a:path>
              </a:pathLst>
            </a:custGeom>
            <a:solidFill>
              <a:srgbClr val="8E7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6" name="任意多边形 255">
              <a:extLst>
                <a:ext uri="{FF2B5EF4-FFF2-40B4-BE49-F238E27FC236}">
                  <a16:creationId xmlns:a16="http://schemas.microsoft.com/office/drawing/2014/main" id="{8EC4EED0-63DE-464E-9E80-8CD8CA1306C8}"/>
                </a:ext>
              </a:extLst>
            </p:cNvPr>
            <p:cNvSpPr/>
            <p:nvPr/>
          </p:nvSpPr>
          <p:spPr bwMode="auto">
            <a:xfrm>
              <a:off x="7586663" y="3521075"/>
              <a:ext cx="155575" cy="84137"/>
            </a:xfrm>
            <a:custGeom>
              <a:avLst/>
              <a:gdLst>
                <a:gd name="T0" fmla="*/ 58 w 60"/>
                <a:gd name="T1" fmla="*/ 0 h 32"/>
                <a:gd name="T2" fmla="*/ 57 w 60"/>
                <a:gd name="T3" fmla="*/ 2 h 32"/>
                <a:gd name="T4" fmla="*/ 57 w 60"/>
                <a:gd name="T5" fmla="*/ 2 h 32"/>
                <a:gd name="T6" fmla="*/ 57 w 60"/>
                <a:gd name="T7" fmla="*/ 2 h 32"/>
                <a:gd name="T8" fmla="*/ 50 w 60"/>
                <a:gd name="T9" fmla="*/ 9 h 32"/>
                <a:gd name="T10" fmla="*/ 50 w 60"/>
                <a:gd name="T11" fmla="*/ 9 h 32"/>
                <a:gd name="T12" fmla="*/ 50 w 60"/>
                <a:gd name="T13" fmla="*/ 9 h 32"/>
                <a:gd name="T14" fmla="*/ 23 w 60"/>
                <a:gd name="T15" fmla="*/ 18 h 32"/>
                <a:gd name="T16" fmla="*/ 23 w 60"/>
                <a:gd name="T17" fmla="*/ 19 h 32"/>
                <a:gd name="T18" fmla="*/ 3 w 60"/>
                <a:gd name="T19" fmla="*/ 16 h 32"/>
                <a:gd name="T20" fmla="*/ 1 w 60"/>
                <a:gd name="T21" fmla="*/ 15 h 32"/>
                <a:gd name="T22" fmla="*/ 1 w 60"/>
                <a:gd name="T23" fmla="*/ 15 h 32"/>
                <a:gd name="T24" fmla="*/ 1 w 60"/>
                <a:gd name="T25" fmla="*/ 17 h 32"/>
                <a:gd name="T26" fmla="*/ 12 w 60"/>
                <a:gd name="T27" fmla="*/ 28 h 32"/>
                <a:gd name="T28" fmla="*/ 29 w 60"/>
                <a:gd name="T29" fmla="*/ 32 h 32"/>
                <a:gd name="T30" fmla="*/ 31 w 60"/>
                <a:gd name="T31" fmla="*/ 32 h 32"/>
                <a:gd name="T32" fmla="*/ 31 w 60"/>
                <a:gd name="T33" fmla="*/ 32 h 32"/>
                <a:gd name="T34" fmla="*/ 43 w 60"/>
                <a:gd name="T35" fmla="*/ 28 h 32"/>
                <a:gd name="T36" fmla="*/ 50 w 60"/>
                <a:gd name="T37" fmla="*/ 24 h 32"/>
                <a:gd name="T38" fmla="*/ 50 w 60"/>
                <a:gd name="T39" fmla="*/ 24 h 32"/>
                <a:gd name="T40" fmla="*/ 55 w 60"/>
                <a:gd name="T41" fmla="*/ 19 h 32"/>
                <a:gd name="T42" fmla="*/ 55 w 60"/>
                <a:gd name="T43" fmla="*/ 19 h 32"/>
                <a:gd name="T44" fmla="*/ 55 w 60"/>
                <a:gd name="T45" fmla="*/ 19 h 32"/>
                <a:gd name="T46" fmla="*/ 55 w 60"/>
                <a:gd name="T47" fmla="*/ 19 h 32"/>
                <a:gd name="T48" fmla="*/ 55 w 60"/>
                <a:gd name="T49" fmla="*/ 19 h 32"/>
                <a:gd name="T50" fmla="*/ 55 w 60"/>
                <a:gd name="T51" fmla="*/ 19 h 32"/>
                <a:gd name="T52" fmla="*/ 55 w 60"/>
                <a:gd name="T53" fmla="*/ 19 h 32"/>
                <a:gd name="T54" fmla="*/ 55 w 60"/>
                <a:gd name="T55" fmla="*/ 19 h 32"/>
                <a:gd name="T56" fmla="*/ 55 w 60"/>
                <a:gd name="T57" fmla="*/ 19 h 32"/>
                <a:gd name="T58" fmla="*/ 56 w 60"/>
                <a:gd name="T59" fmla="*/ 19 h 32"/>
                <a:gd name="T60" fmla="*/ 56 w 60"/>
                <a:gd name="T61" fmla="*/ 19 h 32"/>
                <a:gd name="T62" fmla="*/ 60 w 60"/>
                <a:gd name="T63" fmla="*/ 9 h 32"/>
                <a:gd name="T64" fmla="*/ 60 w 60"/>
                <a:gd name="T65" fmla="*/ 9 h 32"/>
                <a:gd name="T66" fmla="*/ 58 w 60"/>
                <a:gd name="T67" fmla="*/ 0 h 32"/>
                <a:gd name="T68" fmla="*/ 58 w 60"/>
                <a:gd name="T69" fmla="*/ 0 h 32"/>
                <a:gd name="T70" fmla="*/ 58 w 60"/>
                <a:gd name="T71" fmla="*/ 0 h 32"/>
                <a:gd name="T72" fmla="*/ 58 w 60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32">
                  <a:moveTo>
                    <a:pt x="58" y="0"/>
                  </a:moveTo>
                  <a:cubicBezTo>
                    <a:pt x="58" y="0"/>
                    <a:pt x="58" y="1"/>
                    <a:pt x="57" y="2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5" y="5"/>
                    <a:pt x="53" y="7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2" y="15"/>
                    <a:pt x="32" y="18"/>
                    <a:pt x="23" y="18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17" y="19"/>
                    <a:pt x="9" y="19"/>
                    <a:pt x="3" y="16"/>
                  </a:cubicBezTo>
                  <a:cubicBezTo>
                    <a:pt x="2" y="16"/>
                    <a:pt x="2" y="16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1" y="21"/>
                    <a:pt x="6" y="24"/>
                    <a:pt x="12" y="28"/>
                  </a:cubicBezTo>
                  <a:cubicBezTo>
                    <a:pt x="17" y="30"/>
                    <a:pt x="23" y="32"/>
                    <a:pt x="29" y="32"/>
                  </a:cubicBezTo>
                  <a:cubicBezTo>
                    <a:pt x="30" y="32"/>
                    <a:pt x="30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5" y="31"/>
                    <a:pt x="39" y="30"/>
                    <a:pt x="43" y="28"/>
                  </a:cubicBezTo>
                  <a:cubicBezTo>
                    <a:pt x="45" y="27"/>
                    <a:pt x="48" y="26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2" y="23"/>
                    <a:pt x="54" y="21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9"/>
                    <a:pt x="55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8" y="16"/>
                    <a:pt x="59" y="13"/>
                    <a:pt x="6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3"/>
                    <a:pt x="60" y="3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solidFill>
              <a:srgbClr val="8E7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7" name="任意多边形 256">
              <a:extLst>
                <a:ext uri="{FF2B5EF4-FFF2-40B4-BE49-F238E27FC236}">
                  <a16:creationId xmlns:a16="http://schemas.microsoft.com/office/drawing/2014/main" id="{2485EEE9-7816-40D1-AC91-4E6D1A0E2D17}"/>
                </a:ext>
              </a:extLst>
            </p:cNvPr>
            <p:cNvSpPr/>
            <p:nvPr/>
          </p:nvSpPr>
          <p:spPr bwMode="auto">
            <a:xfrm>
              <a:off x="7588251" y="3581400"/>
              <a:ext cx="153988" cy="85725"/>
            </a:xfrm>
            <a:custGeom>
              <a:avLst/>
              <a:gdLst>
                <a:gd name="T0" fmla="*/ 26 w 59"/>
                <a:gd name="T1" fmla="*/ 33 h 33"/>
                <a:gd name="T2" fmla="*/ 22 w 59"/>
                <a:gd name="T3" fmla="*/ 33 h 33"/>
                <a:gd name="T4" fmla="*/ 22 w 59"/>
                <a:gd name="T5" fmla="*/ 33 h 33"/>
                <a:gd name="T6" fmla="*/ 26 w 59"/>
                <a:gd name="T7" fmla="*/ 33 h 33"/>
                <a:gd name="T8" fmla="*/ 57 w 59"/>
                <a:gd name="T9" fmla="*/ 0 h 33"/>
                <a:gd name="T10" fmla="*/ 57 w 59"/>
                <a:gd name="T11" fmla="*/ 1 h 33"/>
                <a:gd name="T12" fmla="*/ 56 w 59"/>
                <a:gd name="T13" fmla="*/ 1 h 33"/>
                <a:gd name="T14" fmla="*/ 56 w 59"/>
                <a:gd name="T15" fmla="*/ 1 h 33"/>
                <a:gd name="T16" fmla="*/ 51 w 59"/>
                <a:gd name="T17" fmla="*/ 8 h 33"/>
                <a:gd name="T18" fmla="*/ 49 w 59"/>
                <a:gd name="T19" fmla="*/ 9 h 33"/>
                <a:gd name="T20" fmla="*/ 49 w 59"/>
                <a:gd name="T21" fmla="*/ 9 h 33"/>
                <a:gd name="T22" fmla="*/ 22 w 59"/>
                <a:gd name="T23" fmla="*/ 18 h 33"/>
                <a:gd name="T24" fmla="*/ 22 w 59"/>
                <a:gd name="T25" fmla="*/ 18 h 33"/>
                <a:gd name="T26" fmla="*/ 20 w 59"/>
                <a:gd name="T27" fmla="*/ 18 h 33"/>
                <a:gd name="T28" fmla="*/ 18 w 59"/>
                <a:gd name="T29" fmla="*/ 18 h 33"/>
                <a:gd name="T30" fmla="*/ 8 w 59"/>
                <a:gd name="T31" fmla="*/ 18 h 33"/>
                <a:gd name="T32" fmla="*/ 3 w 59"/>
                <a:gd name="T33" fmla="*/ 16 h 33"/>
                <a:gd name="T34" fmla="*/ 3 w 59"/>
                <a:gd name="T35" fmla="*/ 16 h 33"/>
                <a:gd name="T36" fmla="*/ 0 w 59"/>
                <a:gd name="T37" fmla="*/ 15 h 33"/>
                <a:gd name="T38" fmla="*/ 0 w 59"/>
                <a:gd name="T39" fmla="*/ 18 h 33"/>
                <a:gd name="T40" fmla="*/ 15 w 59"/>
                <a:gd name="T41" fmla="*/ 29 h 33"/>
                <a:gd name="T42" fmla="*/ 29 w 59"/>
                <a:gd name="T43" fmla="*/ 32 h 33"/>
                <a:gd name="T44" fmla="*/ 30 w 59"/>
                <a:gd name="T45" fmla="*/ 32 h 33"/>
                <a:gd name="T46" fmla="*/ 30 w 59"/>
                <a:gd name="T47" fmla="*/ 32 h 33"/>
                <a:gd name="T48" fmla="*/ 49 w 59"/>
                <a:gd name="T49" fmla="*/ 24 h 33"/>
                <a:gd name="T50" fmla="*/ 50 w 59"/>
                <a:gd name="T51" fmla="*/ 23 h 33"/>
                <a:gd name="T52" fmla="*/ 55 w 59"/>
                <a:gd name="T53" fmla="*/ 19 h 33"/>
                <a:gd name="T54" fmla="*/ 57 w 59"/>
                <a:gd name="T55" fmla="*/ 16 h 33"/>
                <a:gd name="T56" fmla="*/ 57 w 59"/>
                <a:gd name="T57" fmla="*/ 16 h 33"/>
                <a:gd name="T58" fmla="*/ 57 w 59"/>
                <a:gd name="T59" fmla="*/ 15 h 33"/>
                <a:gd name="T60" fmla="*/ 57 w 59"/>
                <a:gd name="T61" fmla="*/ 14 h 33"/>
                <a:gd name="T62" fmla="*/ 57 w 59"/>
                <a:gd name="T63" fmla="*/ 14 h 33"/>
                <a:gd name="T64" fmla="*/ 57 w 59"/>
                <a:gd name="T65" fmla="*/ 14 h 33"/>
                <a:gd name="T66" fmla="*/ 58 w 59"/>
                <a:gd name="T67" fmla="*/ 13 h 33"/>
                <a:gd name="T68" fmla="*/ 58 w 59"/>
                <a:gd name="T69" fmla="*/ 13 h 33"/>
                <a:gd name="T70" fmla="*/ 58 w 59"/>
                <a:gd name="T71" fmla="*/ 13 h 33"/>
                <a:gd name="T72" fmla="*/ 58 w 59"/>
                <a:gd name="T73" fmla="*/ 12 h 33"/>
                <a:gd name="T74" fmla="*/ 58 w 59"/>
                <a:gd name="T75" fmla="*/ 12 h 33"/>
                <a:gd name="T76" fmla="*/ 59 w 59"/>
                <a:gd name="T77" fmla="*/ 11 h 33"/>
                <a:gd name="T78" fmla="*/ 59 w 59"/>
                <a:gd name="T79" fmla="*/ 10 h 33"/>
                <a:gd name="T80" fmla="*/ 59 w 59"/>
                <a:gd name="T81" fmla="*/ 10 h 33"/>
                <a:gd name="T82" fmla="*/ 59 w 59"/>
                <a:gd name="T83" fmla="*/ 9 h 33"/>
                <a:gd name="T84" fmla="*/ 59 w 59"/>
                <a:gd name="T85" fmla="*/ 9 h 33"/>
                <a:gd name="T86" fmla="*/ 57 w 59"/>
                <a:gd name="T87" fmla="*/ 0 h 33"/>
                <a:gd name="T88" fmla="*/ 57 w 59"/>
                <a:gd name="T8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9" h="33">
                  <a:moveTo>
                    <a:pt x="26" y="33"/>
                  </a:moveTo>
                  <a:cubicBezTo>
                    <a:pt x="24" y="33"/>
                    <a:pt x="22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3"/>
                    <a:pt x="26" y="33"/>
                  </a:cubicBezTo>
                  <a:moveTo>
                    <a:pt x="57" y="0"/>
                  </a:moveTo>
                  <a:cubicBezTo>
                    <a:pt x="57" y="0"/>
                    <a:pt x="57" y="1"/>
                    <a:pt x="57" y="1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5" y="4"/>
                    <a:pt x="53" y="6"/>
                    <a:pt x="51" y="8"/>
                  </a:cubicBezTo>
                  <a:cubicBezTo>
                    <a:pt x="50" y="8"/>
                    <a:pt x="50" y="9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1" y="15"/>
                    <a:pt x="31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1" y="18"/>
                    <a:pt x="21" y="18"/>
                    <a:pt x="20" y="18"/>
                  </a:cubicBezTo>
                  <a:cubicBezTo>
                    <a:pt x="19" y="18"/>
                    <a:pt x="19" y="18"/>
                    <a:pt x="18" y="18"/>
                  </a:cubicBezTo>
                  <a:cubicBezTo>
                    <a:pt x="15" y="18"/>
                    <a:pt x="11" y="18"/>
                    <a:pt x="8" y="18"/>
                  </a:cubicBezTo>
                  <a:cubicBezTo>
                    <a:pt x="6" y="17"/>
                    <a:pt x="4" y="17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1" y="16"/>
                    <a:pt x="0" y="15"/>
                  </a:cubicBezTo>
                  <a:cubicBezTo>
                    <a:pt x="0" y="16"/>
                    <a:pt x="0" y="17"/>
                    <a:pt x="0" y="18"/>
                  </a:cubicBezTo>
                  <a:cubicBezTo>
                    <a:pt x="2" y="23"/>
                    <a:pt x="8" y="26"/>
                    <a:pt x="15" y="29"/>
                  </a:cubicBezTo>
                  <a:cubicBezTo>
                    <a:pt x="19" y="31"/>
                    <a:pt x="25" y="32"/>
                    <a:pt x="29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7" y="30"/>
                    <a:pt x="44" y="28"/>
                    <a:pt x="49" y="24"/>
                  </a:cubicBezTo>
                  <a:cubicBezTo>
                    <a:pt x="49" y="24"/>
                    <a:pt x="49" y="24"/>
                    <a:pt x="50" y="23"/>
                  </a:cubicBezTo>
                  <a:cubicBezTo>
                    <a:pt x="52" y="22"/>
                    <a:pt x="53" y="20"/>
                    <a:pt x="55" y="19"/>
                  </a:cubicBezTo>
                  <a:cubicBezTo>
                    <a:pt x="55" y="18"/>
                    <a:pt x="56" y="17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5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8" y="14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1"/>
                    <a:pt x="58" y="11"/>
                    <a:pt x="59" y="11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4"/>
                    <a:pt x="59" y="3"/>
                    <a:pt x="57" y="0"/>
                  </a:cubicBezTo>
                  <a:cubicBezTo>
                    <a:pt x="57" y="0"/>
                    <a:pt x="57" y="0"/>
                    <a:pt x="57" y="0"/>
                  </a:cubicBezTo>
                </a:path>
              </a:pathLst>
            </a:custGeom>
            <a:solidFill>
              <a:srgbClr val="8E7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8" name="任意多边形 257">
              <a:extLst>
                <a:ext uri="{FF2B5EF4-FFF2-40B4-BE49-F238E27FC236}">
                  <a16:creationId xmlns:a16="http://schemas.microsoft.com/office/drawing/2014/main" id="{4E657FFD-7639-4548-BE62-74822636882F}"/>
                </a:ext>
              </a:extLst>
            </p:cNvPr>
            <p:cNvSpPr/>
            <p:nvPr/>
          </p:nvSpPr>
          <p:spPr bwMode="auto">
            <a:xfrm>
              <a:off x="7588251" y="3544888"/>
              <a:ext cx="153988" cy="84137"/>
            </a:xfrm>
            <a:custGeom>
              <a:avLst/>
              <a:gdLst>
                <a:gd name="T0" fmla="*/ 8 w 59"/>
                <a:gd name="T1" fmla="*/ 32 h 32"/>
                <a:gd name="T2" fmla="*/ 18 w 59"/>
                <a:gd name="T3" fmla="*/ 32 h 32"/>
                <a:gd name="T4" fmla="*/ 20 w 59"/>
                <a:gd name="T5" fmla="*/ 32 h 32"/>
                <a:gd name="T6" fmla="*/ 20 w 59"/>
                <a:gd name="T7" fmla="*/ 32 h 32"/>
                <a:gd name="T8" fmla="*/ 19 w 59"/>
                <a:gd name="T9" fmla="*/ 32 h 32"/>
                <a:gd name="T10" fmla="*/ 10 w 59"/>
                <a:gd name="T11" fmla="*/ 32 h 32"/>
                <a:gd name="T12" fmla="*/ 9 w 59"/>
                <a:gd name="T13" fmla="*/ 32 h 32"/>
                <a:gd name="T14" fmla="*/ 8 w 59"/>
                <a:gd name="T15" fmla="*/ 32 h 32"/>
                <a:gd name="T16" fmla="*/ 0 w 59"/>
                <a:gd name="T17" fmla="*/ 29 h 32"/>
                <a:gd name="T18" fmla="*/ 0 w 59"/>
                <a:gd name="T19" fmla="*/ 29 h 32"/>
                <a:gd name="T20" fmla="*/ 0 w 59"/>
                <a:gd name="T21" fmla="*/ 29 h 32"/>
                <a:gd name="T22" fmla="*/ 0 w 59"/>
                <a:gd name="T23" fmla="*/ 29 h 32"/>
                <a:gd name="T24" fmla="*/ 3 w 59"/>
                <a:gd name="T25" fmla="*/ 30 h 32"/>
                <a:gd name="T26" fmla="*/ 1 w 59"/>
                <a:gd name="T27" fmla="*/ 29 h 32"/>
                <a:gd name="T28" fmla="*/ 0 w 59"/>
                <a:gd name="T29" fmla="*/ 29 h 32"/>
                <a:gd name="T30" fmla="*/ 59 w 59"/>
                <a:gd name="T31" fmla="*/ 0 h 32"/>
                <a:gd name="T32" fmla="*/ 55 w 59"/>
                <a:gd name="T33" fmla="*/ 10 h 32"/>
                <a:gd name="T34" fmla="*/ 55 w 59"/>
                <a:gd name="T35" fmla="*/ 10 h 32"/>
                <a:gd name="T36" fmla="*/ 54 w 59"/>
                <a:gd name="T37" fmla="*/ 10 h 32"/>
                <a:gd name="T38" fmla="*/ 54 w 59"/>
                <a:gd name="T39" fmla="*/ 10 h 32"/>
                <a:gd name="T40" fmla="*/ 54 w 59"/>
                <a:gd name="T41" fmla="*/ 10 h 32"/>
                <a:gd name="T42" fmla="*/ 54 w 59"/>
                <a:gd name="T43" fmla="*/ 10 h 32"/>
                <a:gd name="T44" fmla="*/ 54 w 59"/>
                <a:gd name="T45" fmla="*/ 10 h 32"/>
                <a:gd name="T46" fmla="*/ 54 w 59"/>
                <a:gd name="T47" fmla="*/ 10 h 32"/>
                <a:gd name="T48" fmla="*/ 54 w 59"/>
                <a:gd name="T49" fmla="*/ 10 h 32"/>
                <a:gd name="T50" fmla="*/ 54 w 59"/>
                <a:gd name="T51" fmla="*/ 10 h 32"/>
                <a:gd name="T52" fmla="*/ 54 w 59"/>
                <a:gd name="T53" fmla="*/ 10 h 32"/>
                <a:gd name="T54" fmla="*/ 49 w 59"/>
                <a:gd name="T55" fmla="*/ 15 h 32"/>
                <a:gd name="T56" fmla="*/ 49 w 59"/>
                <a:gd name="T57" fmla="*/ 15 h 32"/>
                <a:gd name="T58" fmla="*/ 42 w 59"/>
                <a:gd name="T59" fmla="*/ 19 h 32"/>
                <a:gd name="T60" fmla="*/ 30 w 59"/>
                <a:gd name="T61" fmla="*/ 23 h 32"/>
                <a:gd name="T62" fmla="*/ 30 w 59"/>
                <a:gd name="T63" fmla="*/ 23 h 32"/>
                <a:gd name="T64" fmla="*/ 30 w 59"/>
                <a:gd name="T65" fmla="*/ 23 h 32"/>
                <a:gd name="T66" fmla="*/ 30 w 59"/>
                <a:gd name="T67" fmla="*/ 23 h 32"/>
                <a:gd name="T68" fmla="*/ 22 w 59"/>
                <a:gd name="T69" fmla="*/ 24 h 32"/>
                <a:gd name="T70" fmla="*/ 22 w 59"/>
                <a:gd name="T71" fmla="*/ 32 h 32"/>
                <a:gd name="T72" fmla="*/ 49 w 59"/>
                <a:gd name="T73" fmla="*/ 23 h 32"/>
                <a:gd name="T74" fmla="*/ 49 w 59"/>
                <a:gd name="T75" fmla="*/ 23 h 32"/>
                <a:gd name="T76" fmla="*/ 51 w 59"/>
                <a:gd name="T77" fmla="*/ 22 h 32"/>
                <a:gd name="T78" fmla="*/ 56 w 59"/>
                <a:gd name="T79" fmla="*/ 15 h 32"/>
                <a:gd name="T80" fmla="*/ 56 w 59"/>
                <a:gd name="T81" fmla="*/ 15 h 32"/>
                <a:gd name="T82" fmla="*/ 57 w 59"/>
                <a:gd name="T83" fmla="*/ 15 h 32"/>
                <a:gd name="T84" fmla="*/ 57 w 59"/>
                <a:gd name="T85" fmla="*/ 14 h 32"/>
                <a:gd name="T86" fmla="*/ 57 w 59"/>
                <a:gd name="T87" fmla="*/ 14 h 32"/>
                <a:gd name="T88" fmla="*/ 59 w 59"/>
                <a:gd name="T89" fmla="*/ 2 h 32"/>
                <a:gd name="T90" fmla="*/ 59 w 59"/>
                <a:gd name="T9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9" h="32">
                  <a:moveTo>
                    <a:pt x="8" y="32"/>
                  </a:moveTo>
                  <a:cubicBezTo>
                    <a:pt x="11" y="32"/>
                    <a:pt x="15" y="32"/>
                    <a:pt x="18" y="32"/>
                  </a:cubicBezTo>
                  <a:cubicBezTo>
                    <a:pt x="19" y="32"/>
                    <a:pt x="19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6" y="32"/>
                    <a:pt x="13" y="32"/>
                    <a:pt x="10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8" y="32"/>
                  </a:cubicBezTo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2" y="30"/>
                    <a:pt x="2" y="30"/>
                    <a:pt x="1" y="29"/>
                  </a:cubicBezTo>
                  <a:cubicBezTo>
                    <a:pt x="1" y="29"/>
                    <a:pt x="0" y="29"/>
                    <a:pt x="0" y="29"/>
                  </a:cubicBezTo>
                  <a:moveTo>
                    <a:pt x="59" y="0"/>
                  </a:moveTo>
                  <a:cubicBezTo>
                    <a:pt x="58" y="4"/>
                    <a:pt x="57" y="7"/>
                    <a:pt x="55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3" y="12"/>
                    <a:pt x="51" y="14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7" y="17"/>
                    <a:pt x="44" y="18"/>
                    <a:pt x="42" y="19"/>
                  </a:cubicBezTo>
                  <a:cubicBezTo>
                    <a:pt x="38" y="21"/>
                    <a:pt x="34" y="22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29" y="23"/>
                    <a:pt x="28" y="24"/>
                    <a:pt x="22" y="24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31" y="32"/>
                    <a:pt x="41" y="29"/>
                    <a:pt x="49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0" y="23"/>
                    <a:pt x="50" y="22"/>
                    <a:pt x="51" y="22"/>
                  </a:cubicBezTo>
                  <a:cubicBezTo>
                    <a:pt x="53" y="20"/>
                    <a:pt x="55" y="18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7" y="15"/>
                  </a:cubicBezTo>
                  <a:cubicBezTo>
                    <a:pt x="57" y="15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9" y="10"/>
                    <a:pt x="59" y="10"/>
                    <a:pt x="59" y="2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826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9" name="任意多边形 258">
              <a:extLst>
                <a:ext uri="{FF2B5EF4-FFF2-40B4-BE49-F238E27FC236}">
                  <a16:creationId xmlns:a16="http://schemas.microsoft.com/office/drawing/2014/main" id="{9EFD7640-8AEF-4BA4-860F-BB6BCEFEED9F}"/>
                </a:ext>
              </a:extLst>
            </p:cNvPr>
            <p:cNvSpPr/>
            <p:nvPr/>
          </p:nvSpPr>
          <p:spPr bwMode="auto">
            <a:xfrm>
              <a:off x="7588251" y="3479800"/>
              <a:ext cx="153988" cy="88900"/>
            </a:xfrm>
            <a:custGeom>
              <a:avLst/>
              <a:gdLst>
                <a:gd name="T0" fmla="*/ 0 w 59"/>
                <a:gd name="T1" fmla="*/ 31 h 34"/>
                <a:gd name="T2" fmla="*/ 2 w 59"/>
                <a:gd name="T3" fmla="*/ 32 h 34"/>
                <a:gd name="T4" fmla="*/ 2 w 59"/>
                <a:gd name="T5" fmla="*/ 32 h 34"/>
                <a:gd name="T6" fmla="*/ 0 w 59"/>
                <a:gd name="T7" fmla="*/ 31 h 34"/>
                <a:gd name="T8" fmla="*/ 57 w 59"/>
                <a:gd name="T9" fmla="*/ 9 h 34"/>
                <a:gd name="T10" fmla="*/ 57 w 59"/>
                <a:gd name="T11" fmla="*/ 9 h 34"/>
                <a:gd name="T12" fmla="*/ 56 w 59"/>
                <a:gd name="T13" fmla="*/ 9 h 34"/>
                <a:gd name="T14" fmla="*/ 56 w 59"/>
                <a:gd name="T15" fmla="*/ 9 h 34"/>
                <a:gd name="T16" fmla="*/ 56 w 59"/>
                <a:gd name="T17" fmla="*/ 9 h 34"/>
                <a:gd name="T18" fmla="*/ 56 w 59"/>
                <a:gd name="T19" fmla="*/ 9 h 34"/>
                <a:gd name="T20" fmla="*/ 56 w 59"/>
                <a:gd name="T21" fmla="*/ 9 h 34"/>
                <a:gd name="T22" fmla="*/ 56 w 59"/>
                <a:gd name="T23" fmla="*/ 9 h 34"/>
                <a:gd name="T24" fmla="*/ 56 w 59"/>
                <a:gd name="T25" fmla="*/ 10 h 34"/>
                <a:gd name="T26" fmla="*/ 56 w 59"/>
                <a:gd name="T27" fmla="*/ 10 h 34"/>
                <a:gd name="T28" fmla="*/ 56 w 59"/>
                <a:gd name="T29" fmla="*/ 10 h 34"/>
                <a:gd name="T30" fmla="*/ 56 w 59"/>
                <a:gd name="T31" fmla="*/ 10 h 34"/>
                <a:gd name="T32" fmla="*/ 56 w 59"/>
                <a:gd name="T33" fmla="*/ 10 h 34"/>
                <a:gd name="T34" fmla="*/ 49 w 59"/>
                <a:gd name="T35" fmla="*/ 17 h 34"/>
                <a:gd name="T36" fmla="*/ 49 w 59"/>
                <a:gd name="T37" fmla="*/ 17 h 34"/>
                <a:gd name="T38" fmla="*/ 48 w 59"/>
                <a:gd name="T39" fmla="*/ 18 h 34"/>
                <a:gd name="T40" fmla="*/ 29 w 59"/>
                <a:gd name="T41" fmla="*/ 25 h 34"/>
                <a:gd name="T42" fmla="*/ 18 w 59"/>
                <a:gd name="T43" fmla="*/ 26 h 34"/>
                <a:gd name="T44" fmla="*/ 18 w 59"/>
                <a:gd name="T45" fmla="*/ 26 h 34"/>
                <a:gd name="T46" fmla="*/ 15 w 59"/>
                <a:gd name="T47" fmla="*/ 26 h 34"/>
                <a:gd name="T48" fmla="*/ 22 w 59"/>
                <a:gd name="T49" fmla="*/ 34 h 34"/>
                <a:gd name="T50" fmla="*/ 49 w 59"/>
                <a:gd name="T51" fmla="*/ 25 h 34"/>
                <a:gd name="T52" fmla="*/ 49 w 59"/>
                <a:gd name="T53" fmla="*/ 25 h 34"/>
                <a:gd name="T54" fmla="*/ 56 w 59"/>
                <a:gd name="T55" fmla="*/ 18 h 34"/>
                <a:gd name="T56" fmla="*/ 57 w 59"/>
                <a:gd name="T57" fmla="*/ 16 h 34"/>
                <a:gd name="T58" fmla="*/ 58 w 59"/>
                <a:gd name="T59" fmla="*/ 15 h 34"/>
                <a:gd name="T60" fmla="*/ 58 w 59"/>
                <a:gd name="T61" fmla="*/ 13 h 34"/>
                <a:gd name="T62" fmla="*/ 59 w 59"/>
                <a:gd name="T63" fmla="*/ 2 h 34"/>
                <a:gd name="T64" fmla="*/ 59 w 59"/>
                <a:gd name="T65" fmla="*/ 0 h 34"/>
                <a:gd name="T66" fmla="*/ 59 w 59"/>
                <a:gd name="T6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4">
                  <a:moveTo>
                    <a:pt x="0" y="31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" y="32"/>
                    <a:pt x="1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1"/>
                    <a:pt x="0" y="31"/>
                    <a:pt x="0" y="31"/>
                  </a:cubicBezTo>
                  <a:moveTo>
                    <a:pt x="59" y="2"/>
                  </a:moveTo>
                  <a:cubicBezTo>
                    <a:pt x="59" y="5"/>
                    <a:pt x="58" y="7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4" y="13"/>
                    <a:pt x="52" y="15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43" y="22"/>
                    <a:pt x="36" y="24"/>
                    <a:pt x="29" y="25"/>
                  </a:cubicBezTo>
                  <a:cubicBezTo>
                    <a:pt x="25" y="26"/>
                    <a:pt x="22" y="26"/>
                    <a:pt x="18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7" y="26"/>
                    <a:pt x="16" y="26"/>
                    <a:pt x="15" y="26"/>
                  </a:cubicBezTo>
                  <a:cubicBezTo>
                    <a:pt x="16" y="27"/>
                    <a:pt x="19" y="30"/>
                    <a:pt x="20" y="32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31" y="34"/>
                    <a:pt x="41" y="31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52" y="23"/>
                    <a:pt x="54" y="21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7" y="17"/>
                    <a:pt x="57" y="16"/>
                    <a:pt x="57" y="16"/>
                  </a:cubicBezTo>
                  <a:cubicBezTo>
                    <a:pt x="57" y="16"/>
                    <a:pt x="57" y="16"/>
                    <a:pt x="57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15"/>
                    <a:pt x="58" y="14"/>
                    <a:pt x="58" y="1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8" y="13"/>
                    <a:pt x="59" y="12"/>
                  </a:cubicBezTo>
                  <a:cubicBezTo>
                    <a:pt x="59" y="11"/>
                    <a:pt x="59" y="8"/>
                    <a:pt x="59" y="2"/>
                  </a:cubicBezTo>
                  <a:moveTo>
                    <a:pt x="59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solidFill>
              <a:srgbClr val="826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0" name="任意多边形 259">
              <a:extLst>
                <a:ext uri="{FF2B5EF4-FFF2-40B4-BE49-F238E27FC236}">
                  <a16:creationId xmlns:a16="http://schemas.microsoft.com/office/drawing/2014/main" id="{D06CA80E-B642-4C63-9E2B-0B19274263F8}"/>
                </a:ext>
              </a:extLst>
            </p:cNvPr>
            <p:cNvSpPr/>
            <p:nvPr/>
          </p:nvSpPr>
          <p:spPr bwMode="auto">
            <a:xfrm>
              <a:off x="7586663" y="3479800"/>
              <a:ext cx="155575" cy="68262"/>
            </a:xfrm>
            <a:custGeom>
              <a:avLst/>
              <a:gdLst>
                <a:gd name="T0" fmla="*/ 60 w 60"/>
                <a:gd name="T1" fmla="*/ 0 h 26"/>
                <a:gd name="T2" fmla="*/ 51 w 60"/>
                <a:gd name="T3" fmla="*/ 6 h 26"/>
                <a:gd name="T4" fmla="*/ 30 w 60"/>
                <a:gd name="T5" fmla="*/ 11 h 26"/>
                <a:gd name="T6" fmla="*/ 30 w 60"/>
                <a:gd name="T7" fmla="*/ 11 h 26"/>
                <a:gd name="T8" fmla="*/ 19 w 60"/>
                <a:gd name="T9" fmla="*/ 12 h 26"/>
                <a:gd name="T10" fmla="*/ 10 w 60"/>
                <a:gd name="T11" fmla="*/ 11 h 26"/>
                <a:gd name="T12" fmla="*/ 0 w 60"/>
                <a:gd name="T13" fmla="*/ 8 h 26"/>
                <a:gd name="T14" fmla="*/ 0 w 60"/>
                <a:gd name="T15" fmla="*/ 8 h 26"/>
                <a:gd name="T16" fmla="*/ 1 w 60"/>
                <a:gd name="T17" fmla="*/ 9 h 26"/>
                <a:gd name="T18" fmla="*/ 1 w 60"/>
                <a:gd name="T19" fmla="*/ 10 h 26"/>
                <a:gd name="T20" fmla="*/ 2 w 60"/>
                <a:gd name="T21" fmla="*/ 13 h 26"/>
                <a:gd name="T22" fmla="*/ 15 w 60"/>
                <a:gd name="T23" fmla="*/ 26 h 26"/>
                <a:gd name="T24" fmla="*/ 16 w 60"/>
                <a:gd name="T25" fmla="*/ 26 h 26"/>
                <a:gd name="T26" fmla="*/ 16 w 60"/>
                <a:gd name="T27" fmla="*/ 26 h 26"/>
                <a:gd name="T28" fmla="*/ 19 w 60"/>
                <a:gd name="T29" fmla="*/ 26 h 26"/>
                <a:gd name="T30" fmla="*/ 19 w 60"/>
                <a:gd name="T31" fmla="*/ 26 h 26"/>
                <a:gd name="T32" fmla="*/ 19 w 60"/>
                <a:gd name="T33" fmla="*/ 26 h 26"/>
                <a:gd name="T34" fmla="*/ 19 w 60"/>
                <a:gd name="T35" fmla="*/ 26 h 26"/>
                <a:gd name="T36" fmla="*/ 30 w 60"/>
                <a:gd name="T37" fmla="*/ 25 h 26"/>
                <a:gd name="T38" fmla="*/ 49 w 60"/>
                <a:gd name="T39" fmla="*/ 18 h 26"/>
                <a:gd name="T40" fmla="*/ 49 w 60"/>
                <a:gd name="T41" fmla="*/ 18 h 26"/>
                <a:gd name="T42" fmla="*/ 50 w 60"/>
                <a:gd name="T43" fmla="*/ 17 h 26"/>
                <a:gd name="T44" fmla="*/ 50 w 60"/>
                <a:gd name="T45" fmla="*/ 17 h 26"/>
                <a:gd name="T46" fmla="*/ 50 w 60"/>
                <a:gd name="T47" fmla="*/ 17 h 26"/>
                <a:gd name="T48" fmla="*/ 50 w 60"/>
                <a:gd name="T49" fmla="*/ 17 h 26"/>
                <a:gd name="T50" fmla="*/ 57 w 60"/>
                <a:gd name="T51" fmla="*/ 10 h 26"/>
                <a:gd name="T52" fmla="*/ 57 w 60"/>
                <a:gd name="T53" fmla="*/ 10 h 26"/>
                <a:gd name="T54" fmla="*/ 57 w 60"/>
                <a:gd name="T55" fmla="*/ 10 h 26"/>
                <a:gd name="T56" fmla="*/ 57 w 60"/>
                <a:gd name="T57" fmla="*/ 10 h 26"/>
                <a:gd name="T58" fmla="*/ 57 w 60"/>
                <a:gd name="T59" fmla="*/ 10 h 26"/>
                <a:gd name="T60" fmla="*/ 57 w 60"/>
                <a:gd name="T61" fmla="*/ 10 h 26"/>
                <a:gd name="T62" fmla="*/ 57 w 60"/>
                <a:gd name="T63" fmla="*/ 10 h 26"/>
                <a:gd name="T64" fmla="*/ 57 w 60"/>
                <a:gd name="T65" fmla="*/ 10 h 26"/>
                <a:gd name="T66" fmla="*/ 57 w 60"/>
                <a:gd name="T67" fmla="*/ 10 h 26"/>
                <a:gd name="T68" fmla="*/ 57 w 60"/>
                <a:gd name="T69" fmla="*/ 10 h 26"/>
                <a:gd name="T70" fmla="*/ 57 w 60"/>
                <a:gd name="T71" fmla="*/ 9 h 26"/>
                <a:gd name="T72" fmla="*/ 57 w 60"/>
                <a:gd name="T73" fmla="*/ 9 h 26"/>
                <a:gd name="T74" fmla="*/ 57 w 60"/>
                <a:gd name="T75" fmla="*/ 9 h 26"/>
                <a:gd name="T76" fmla="*/ 57 w 60"/>
                <a:gd name="T77" fmla="*/ 9 h 26"/>
                <a:gd name="T78" fmla="*/ 57 w 60"/>
                <a:gd name="T79" fmla="*/ 9 h 26"/>
                <a:gd name="T80" fmla="*/ 57 w 60"/>
                <a:gd name="T81" fmla="*/ 9 h 26"/>
                <a:gd name="T82" fmla="*/ 57 w 60"/>
                <a:gd name="T83" fmla="*/ 9 h 26"/>
                <a:gd name="T84" fmla="*/ 57 w 60"/>
                <a:gd name="T85" fmla="*/ 9 h 26"/>
                <a:gd name="T86" fmla="*/ 57 w 60"/>
                <a:gd name="T87" fmla="*/ 9 h 26"/>
                <a:gd name="T88" fmla="*/ 57 w 60"/>
                <a:gd name="T89" fmla="*/ 9 h 26"/>
                <a:gd name="T90" fmla="*/ 57 w 60"/>
                <a:gd name="T91" fmla="*/ 9 h 26"/>
                <a:gd name="T92" fmla="*/ 57 w 60"/>
                <a:gd name="T93" fmla="*/ 9 h 26"/>
                <a:gd name="T94" fmla="*/ 58 w 60"/>
                <a:gd name="T95" fmla="*/ 9 h 26"/>
                <a:gd name="T96" fmla="*/ 58 w 60"/>
                <a:gd name="T97" fmla="*/ 9 h 26"/>
                <a:gd name="T98" fmla="*/ 58 w 60"/>
                <a:gd name="T99" fmla="*/ 9 h 26"/>
                <a:gd name="T100" fmla="*/ 58 w 60"/>
                <a:gd name="T101" fmla="*/ 9 h 26"/>
                <a:gd name="T102" fmla="*/ 60 w 60"/>
                <a:gd name="T103" fmla="*/ 2 h 26"/>
                <a:gd name="T104" fmla="*/ 60 w 60"/>
                <a:gd name="T105" fmla="*/ 2 h 26"/>
                <a:gd name="T106" fmla="*/ 60 w 60"/>
                <a:gd name="T107" fmla="*/ 0 h 26"/>
                <a:gd name="T108" fmla="*/ 60 w 60"/>
                <a:gd name="T109" fmla="*/ 0 h 26"/>
                <a:gd name="T110" fmla="*/ 60 w 60"/>
                <a:gd name="T111" fmla="*/ 0 h 26"/>
                <a:gd name="T112" fmla="*/ 60 w 60"/>
                <a:gd name="T1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" h="26">
                  <a:moveTo>
                    <a:pt x="60" y="0"/>
                  </a:moveTo>
                  <a:cubicBezTo>
                    <a:pt x="57" y="2"/>
                    <a:pt x="54" y="4"/>
                    <a:pt x="51" y="6"/>
                  </a:cubicBezTo>
                  <a:cubicBezTo>
                    <a:pt x="45" y="9"/>
                    <a:pt x="37" y="10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7" y="11"/>
                    <a:pt x="23" y="12"/>
                    <a:pt x="19" y="12"/>
                  </a:cubicBezTo>
                  <a:cubicBezTo>
                    <a:pt x="16" y="12"/>
                    <a:pt x="13" y="11"/>
                    <a:pt x="10" y="11"/>
                  </a:cubicBezTo>
                  <a:cubicBezTo>
                    <a:pt x="6" y="10"/>
                    <a:pt x="3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1" y="10"/>
                    <a:pt x="2" y="12"/>
                    <a:pt x="2" y="13"/>
                  </a:cubicBezTo>
                  <a:cubicBezTo>
                    <a:pt x="4" y="18"/>
                    <a:pt x="9" y="23"/>
                    <a:pt x="15" y="26"/>
                  </a:cubicBezTo>
                  <a:cubicBezTo>
                    <a:pt x="15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7" y="26"/>
                    <a:pt x="18" y="26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3" y="26"/>
                    <a:pt x="26" y="26"/>
                    <a:pt x="30" y="25"/>
                  </a:cubicBezTo>
                  <a:cubicBezTo>
                    <a:pt x="37" y="24"/>
                    <a:pt x="44" y="22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9" y="18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3" y="15"/>
                    <a:pt x="55" y="13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10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9" y="7"/>
                    <a:pt x="60" y="5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0" y="1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rgbClr val="8E7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261" name="图片 260">
              <a:extLst>
                <a:ext uri="{FF2B5EF4-FFF2-40B4-BE49-F238E27FC236}">
                  <a16:creationId xmlns:a16="http://schemas.microsoft.com/office/drawing/2014/main" id="{6DEA4BDC-EC93-4265-B7E7-CC82D26DC7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2701" y="3352800"/>
              <a:ext cx="133350" cy="101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2" name="任意多边形 261">
              <a:extLst>
                <a:ext uri="{FF2B5EF4-FFF2-40B4-BE49-F238E27FC236}">
                  <a16:creationId xmlns:a16="http://schemas.microsoft.com/office/drawing/2014/main" id="{70A9C18F-C77E-436F-960A-79740008A501}"/>
                </a:ext>
              </a:extLst>
            </p:cNvPr>
            <p:cNvSpPr/>
            <p:nvPr/>
          </p:nvSpPr>
          <p:spPr bwMode="auto">
            <a:xfrm>
              <a:off x="7573963" y="3487738"/>
              <a:ext cx="90488" cy="23812"/>
            </a:xfrm>
            <a:custGeom>
              <a:avLst/>
              <a:gdLst>
                <a:gd name="T0" fmla="*/ 0 w 35"/>
                <a:gd name="T1" fmla="*/ 0 h 9"/>
                <a:gd name="T2" fmla="*/ 2 w 35"/>
                <a:gd name="T3" fmla="*/ 3 h 9"/>
                <a:gd name="T4" fmla="*/ 5 w 35"/>
                <a:gd name="T5" fmla="*/ 5 h 9"/>
                <a:gd name="T6" fmla="*/ 15 w 35"/>
                <a:gd name="T7" fmla="*/ 8 h 9"/>
                <a:gd name="T8" fmla="*/ 24 w 35"/>
                <a:gd name="T9" fmla="*/ 9 h 9"/>
                <a:gd name="T10" fmla="*/ 35 w 35"/>
                <a:gd name="T11" fmla="*/ 8 h 9"/>
                <a:gd name="T12" fmla="*/ 35 w 35"/>
                <a:gd name="T13" fmla="*/ 8 h 9"/>
                <a:gd name="T14" fmla="*/ 30 w 35"/>
                <a:gd name="T15" fmla="*/ 8 h 9"/>
                <a:gd name="T16" fmla="*/ 27 w 35"/>
                <a:gd name="T17" fmla="*/ 8 h 9"/>
                <a:gd name="T18" fmla="*/ 27 w 35"/>
                <a:gd name="T19" fmla="*/ 8 h 9"/>
                <a:gd name="T20" fmla="*/ 27 w 35"/>
                <a:gd name="T21" fmla="*/ 8 h 9"/>
                <a:gd name="T22" fmla="*/ 22 w 35"/>
                <a:gd name="T23" fmla="*/ 7 h 9"/>
                <a:gd name="T24" fmla="*/ 22 w 35"/>
                <a:gd name="T25" fmla="*/ 7 h 9"/>
                <a:gd name="T26" fmla="*/ 19 w 35"/>
                <a:gd name="T27" fmla="*/ 7 h 9"/>
                <a:gd name="T28" fmla="*/ 5 w 35"/>
                <a:gd name="T29" fmla="*/ 3 h 9"/>
                <a:gd name="T30" fmla="*/ 4 w 35"/>
                <a:gd name="T31" fmla="*/ 2 h 9"/>
                <a:gd name="T32" fmla="*/ 4 w 35"/>
                <a:gd name="T33" fmla="*/ 2 h 9"/>
                <a:gd name="T34" fmla="*/ 0 w 35"/>
                <a:gd name="T3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9">
                  <a:moveTo>
                    <a:pt x="0" y="0"/>
                  </a:moveTo>
                  <a:cubicBezTo>
                    <a:pt x="0" y="1"/>
                    <a:pt x="1" y="2"/>
                    <a:pt x="2" y="3"/>
                  </a:cubicBezTo>
                  <a:cubicBezTo>
                    <a:pt x="3" y="3"/>
                    <a:pt x="4" y="4"/>
                    <a:pt x="5" y="5"/>
                  </a:cubicBezTo>
                  <a:cubicBezTo>
                    <a:pt x="8" y="6"/>
                    <a:pt x="11" y="7"/>
                    <a:pt x="15" y="8"/>
                  </a:cubicBezTo>
                  <a:cubicBezTo>
                    <a:pt x="18" y="8"/>
                    <a:pt x="21" y="9"/>
                    <a:pt x="24" y="9"/>
                  </a:cubicBezTo>
                  <a:cubicBezTo>
                    <a:pt x="28" y="9"/>
                    <a:pt x="32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4" y="8"/>
                    <a:pt x="32" y="8"/>
                    <a:pt x="30" y="8"/>
                  </a:cubicBezTo>
                  <a:cubicBezTo>
                    <a:pt x="29" y="8"/>
                    <a:pt x="28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5" y="8"/>
                    <a:pt x="24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1" y="7"/>
                    <a:pt x="20" y="7"/>
                    <a:pt x="19" y="7"/>
                  </a:cubicBezTo>
                  <a:cubicBezTo>
                    <a:pt x="14" y="6"/>
                    <a:pt x="9" y="5"/>
                    <a:pt x="5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2" y="2"/>
                    <a:pt x="1" y="1"/>
                    <a:pt x="0" y="0"/>
                  </a:cubicBezTo>
                </a:path>
              </a:pathLst>
            </a:custGeom>
            <a:solidFill>
              <a:srgbClr val="8E7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3" name="任意多边形 262">
              <a:extLst>
                <a:ext uri="{FF2B5EF4-FFF2-40B4-BE49-F238E27FC236}">
                  <a16:creationId xmlns:a16="http://schemas.microsoft.com/office/drawing/2014/main" id="{EA7FCC0E-8E29-4ECE-AC6D-6DDA90E271AC}"/>
                </a:ext>
              </a:extLst>
            </p:cNvPr>
            <p:cNvSpPr/>
            <p:nvPr/>
          </p:nvSpPr>
          <p:spPr bwMode="auto">
            <a:xfrm>
              <a:off x="7588251" y="3659188"/>
              <a:ext cx="141288" cy="47625"/>
            </a:xfrm>
            <a:custGeom>
              <a:avLst/>
              <a:gdLst>
                <a:gd name="T0" fmla="*/ 54 w 54"/>
                <a:gd name="T1" fmla="*/ 0 h 18"/>
                <a:gd name="T2" fmla="*/ 53 w 54"/>
                <a:gd name="T3" fmla="*/ 1 h 18"/>
                <a:gd name="T4" fmla="*/ 52 w 54"/>
                <a:gd name="T5" fmla="*/ 2 h 18"/>
                <a:gd name="T6" fmla="*/ 52 w 54"/>
                <a:gd name="T7" fmla="*/ 2 h 18"/>
                <a:gd name="T8" fmla="*/ 41 w 54"/>
                <a:gd name="T9" fmla="*/ 7 h 18"/>
                <a:gd name="T10" fmla="*/ 41 w 54"/>
                <a:gd name="T11" fmla="*/ 7 h 18"/>
                <a:gd name="T12" fmla="*/ 37 w 54"/>
                <a:gd name="T13" fmla="*/ 8 h 18"/>
                <a:gd name="T14" fmla="*/ 37 w 54"/>
                <a:gd name="T15" fmla="*/ 8 h 18"/>
                <a:gd name="T16" fmla="*/ 35 w 54"/>
                <a:gd name="T17" fmla="*/ 9 h 18"/>
                <a:gd name="T18" fmla="*/ 24 w 54"/>
                <a:gd name="T19" fmla="*/ 10 h 18"/>
                <a:gd name="T20" fmla="*/ 24 w 54"/>
                <a:gd name="T21" fmla="*/ 10 h 18"/>
                <a:gd name="T22" fmla="*/ 22 w 54"/>
                <a:gd name="T23" fmla="*/ 10 h 18"/>
                <a:gd name="T24" fmla="*/ 22 w 54"/>
                <a:gd name="T25" fmla="*/ 10 h 18"/>
                <a:gd name="T26" fmla="*/ 22 w 54"/>
                <a:gd name="T27" fmla="*/ 10 h 18"/>
                <a:gd name="T28" fmla="*/ 22 w 54"/>
                <a:gd name="T29" fmla="*/ 10 h 18"/>
                <a:gd name="T30" fmla="*/ 21 w 54"/>
                <a:gd name="T31" fmla="*/ 10 h 18"/>
                <a:gd name="T32" fmla="*/ 20 w 54"/>
                <a:gd name="T33" fmla="*/ 10 h 18"/>
                <a:gd name="T34" fmla="*/ 19 w 54"/>
                <a:gd name="T35" fmla="*/ 9 h 18"/>
                <a:gd name="T36" fmla="*/ 19 w 54"/>
                <a:gd name="T37" fmla="*/ 9 h 18"/>
                <a:gd name="T38" fmla="*/ 17 w 54"/>
                <a:gd name="T39" fmla="*/ 9 h 18"/>
                <a:gd name="T40" fmla="*/ 15 w 54"/>
                <a:gd name="T41" fmla="*/ 9 h 18"/>
                <a:gd name="T42" fmla="*/ 11 w 54"/>
                <a:gd name="T43" fmla="*/ 8 h 18"/>
                <a:gd name="T44" fmla="*/ 11 w 54"/>
                <a:gd name="T45" fmla="*/ 8 h 18"/>
                <a:gd name="T46" fmla="*/ 9 w 54"/>
                <a:gd name="T47" fmla="*/ 8 h 18"/>
                <a:gd name="T48" fmla="*/ 9 w 54"/>
                <a:gd name="T49" fmla="*/ 8 h 18"/>
                <a:gd name="T50" fmla="*/ 8 w 54"/>
                <a:gd name="T51" fmla="*/ 7 h 18"/>
                <a:gd name="T52" fmla="*/ 8 w 54"/>
                <a:gd name="T53" fmla="*/ 7 h 18"/>
                <a:gd name="T54" fmla="*/ 7 w 54"/>
                <a:gd name="T55" fmla="*/ 7 h 18"/>
                <a:gd name="T56" fmla="*/ 0 w 54"/>
                <a:gd name="T57" fmla="*/ 4 h 18"/>
                <a:gd name="T58" fmla="*/ 2 w 54"/>
                <a:gd name="T59" fmla="*/ 6 h 18"/>
                <a:gd name="T60" fmla="*/ 5 w 54"/>
                <a:gd name="T61" fmla="*/ 10 h 18"/>
                <a:gd name="T62" fmla="*/ 5 w 54"/>
                <a:gd name="T63" fmla="*/ 11 h 18"/>
                <a:gd name="T64" fmla="*/ 6 w 54"/>
                <a:gd name="T65" fmla="*/ 12 h 18"/>
                <a:gd name="T66" fmla="*/ 24 w 54"/>
                <a:gd name="T67" fmla="*/ 18 h 18"/>
                <a:gd name="T68" fmla="*/ 42 w 54"/>
                <a:gd name="T69" fmla="*/ 12 h 18"/>
                <a:gd name="T70" fmla="*/ 54 w 54"/>
                <a:gd name="T7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4" h="18">
                  <a:moveTo>
                    <a:pt x="54" y="0"/>
                  </a:moveTo>
                  <a:cubicBezTo>
                    <a:pt x="53" y="1"/>
                    <a:pt x="53" y="1"/>
                    <a:pt x="53" y="1"/>
                  </a:cubicBezTo>
                  <a:cubicBezTo>
                    <a:pt x="53" y="1"/>
                    <a:pt x="52" y="2"/>
                    <a:pt x="52" y="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49" y="4"/>
                    <a:pt x="45" y="6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0" y="8"/>
                    <a:pt x="39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6" y="8"/>
                    <a:pt x="36" y="9"/>
                    <a:pt x="35" y="9"/>
                  </a:cubicBezTo>
                  <a:cubicBezTo>
                    <a:pt x="32" y="9"/>
                    <a:pt x="28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0"/>
                    <a:pt x="23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9"/>
                    <a:pt x="17" y="9"/>
                    <a:pt x="17" y="9"/>
                  </a:cubicBezTo>
                  <a:cubicBezTo>
                    <a:pt x="16" y="9"/>
                    <a:pt x="16" y="9"/>
                    <a:pt x="15" y="9"/>
                  </a:cubicBezTo>
                  <a:cubicBezTo>
                    <a:pt x="14" y="9"/>
                    <a:pt x="13" y="9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0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5" y="6"/>
                    <a:pt x="3" y="5"/>
                    <a:pt x="0" y="4"/>
                  </a:cubicBezTo>
                  <a:cubicBezTo>
                    <a:pt x="1" y="5"/>
                    <a:pt x="1" y="5"/>
                    <a:pt x="2" y="6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5" y="10"/>
                    <a:pt x="5" y="10"/>
                    <a:pt x="5" y="11"/>
                  </a:cubicBezTo>
                  <a:cubicBezTo>
                    <a:pt x="5" y="11"/>
                    <a:pt x="6" y="12"/>
                    <a:pt x="6" y="12"/>
                  </a:cubicBezTo>
                  <a:cubicBezTo>
                    <a:pt x="10" y="16"/>
                    <a:pt x="17" y="18"/>
                    <a:pt x="24" y="18"/>
                  </a:cubicBezTo>
                  <a:cubicBezTo>
                    <a:pt x="31" y="18"/>
                    <a:pt x="38" y="16"/>
                    <a:pt x="42" y="12"/>
                  </a:cubicBezTo>
                  <a:cubicBezTo>
                    <a:pt x="45" y="9"/>
                    <a:pt x="52" y="2"/>
                    <a:pt x="54" y="0"/>
                  </a:cubicBezTo>
                </a:path>
              </a:pathLst>
            </a:custGeom>
            <a:solidFill>
              <a:srgbClr val="8E7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4" name="任意多边形 263">
              <a:extLst>
                <a:ext uri="{FF2B5EF4-FFF2-40B4-BE49-F238E27FC236}">
                  <a16:creationId xmlns:a16="http://schemas.microsoft.com/office/drawing/2014/main" id="{A4783F38-0E02-455F-852F-36C8A54AC0DB}"/>
                </a:ext>
              </a:extLst>
            </p:cNvPr>
            <p:cNvSpPr/>
            <p:nvPr/>
          </p:nvSpPr>
          <p:spPr bwMode="auto">
            <a:xfrm>
              <a:off x="7588251" y="3605213"/>
              <a:ext cx="153988" cy="80962"/>
            </a:xfrm>
            <a:custGeom>
              <a:avLst/>
              <a:gdLst>
                <a:gd name="T0" fmla="*/ 0 w 59"/>
                <a:gd name="T1" fmla="*/ 25 h 31"/>
                <a:gd name="T2" fmla="*/ 0 w 59"/>
                <a:gd name="T3" fmla="*/ 25 h 31"/>
                <a:gd name="T4" fmla="*/ 7 w 59"/>
                <a:gd name="T5" fmla="*/ 28 h 31"/>
                <a:gd name="T6" fmla="*/ 8 w 59"/>
                <a:gd name="T7" fmla="*/ 28 h 31"/>
                <a:gd name="T8" fmla="*/ 9 w 59"/>
                <a:gd name="T9" fmla="*/ 29 h 31"/>
                <a:gd name="T10" fmla="*/ 11 w 59"/>
                <a:gd name="T11" fmla="*/ 29 h 31"/>
                <a:gd name="T12" fmla="*/ 17 w 59"/>
                <a:gd name="T13" fmla="*/ 30 h 31"/>
                <a:gd name="T14" fmla="*/ 19 w 59"/>
                <a:gd name="T15" fmla="*/ 30 h 31"/>
                <a:gd name="T16" fmla="*/ 20 w 59"/>
                <a:gd name="T17" fmla="*/ 31 h 31"/>
                <a:gd name="T18" fmla="*/ 20 w 59"/>
                <a:gd name="T19" fmla="*/ 31 h 31"/>
                <a:gd name="T20" fmla="*/ 9 w 59"/>
                <a:gd name="T21" fmla="*/ 29 h 31"/>
                <a:gd name="T22" fmla="*/ 8 w 59"/>
                <a:gd name="T23" fmla="*/ 28 h 31"/>
                <a:gd name="T24" fmla="*/ 5 w 59"/>
                <a:gd name="T25" fmla="*/ 27 h 31"/>
                <a:gd name="T26" fmla="*/ 59 w 59"/>
                <a:gd name="T27" fmla="*/ 0 h 31"/>
                <a:gd name="T28" fmla="*/ 59 w 59"/>
                <a:gd name="T29" fmla="*/ 0 h 31"/>
                <a:gd name="T30" fmla="*/ 59 w 59"/>
                <a:gd name="T31" fmla="*/ 1 h 31"/>
                <a:gd name="T32" fmla="*/ 58 w 59"/>
                <a:gd name="T33" fmla="*/ 3 h 31"/>
                <a:gd name="T34" fmla="*/ 58 w 59"/>
                <a:gd name="T35" fmla="*/ 4 h 31"/>
                <a:gd name="T36" fmla="*/ 58 w 59"/>
                <a:gd name="T37" fmla="*/ 4 h 31"/>
                <a:gd name="T38" fmla="*/ 57 w 59"/>
                <a:gd name="T39" fmla="*/ 5 h 31"/>
                <a:gd name="T40" fmla="*/ 57 w 59"/>
                <a:gd name="T41" fmla="*/ 6 h 31"/>
                <a:gd name="T42" fmla="*/ 57 w 59"/>
                <a:gd name="T43" fmla="*/ 7 h 31"/>
                <a:gd name="T44" fmla="*/ 55 w 59"/>
                <a:gd name="T45" fmla="*/ 10 h 31"/>
                <a:gd name="T46" fmla="*/ 49 w 59"/>
                <a:gd name="T47" fmla="*/ 15 h 31"/>
                <a:gd name="T48" fmla="*/ 44 w 59"/>
                <a:gd name="T49" fmla="*/ 18 h 31"/>
                <a:gd name="T50" fmla="*/ 30 w 59"/>
                <a:gd name="T51" fmla="*/ 23 h 31"/>
                <a:gd name="T52" fmla="*/ 29 w 59"/>
                <a:gd name="T53" fmla="*/ 23 h 31"/>
                <a:gd name="T54" fmla="*/ 28 w 59"/>
                <a:gd name="T55" fmla="*/ 23 h 31"/>
                <a:gd name="T56" fmla="*/ 22 w 59"/>
                <a:gd name="T57" fmla="*/ 24 h 31"/>
                <a:gd name="T58" fmla="*/ 22 w 59"/>
                <a:gd name="T59" fmla="*/ 31 h 31"/>
                <a:gd name="T60" fmla="*/ 22 w 59"/>
                <a:gd name="T61" fmla="*/ 31 h 31"/>
                <a:gd name="T62" fmla="*/ 24 w 59"/>
                <a:gd name="T63" fmla="*/ 31 h 31"/>
                <a:gd name="T64" fmla="*/ 37 w 59"/>
                <a:gd name="T65" fmla="*/ 29 h 31"/>
                <a:gd name="T66" fmla="*/ 41 w 59"/>
                <a:gd name="T67" fmla="*/ 28 h 31"/>
                <a:gd name="T68" fmla="*/ 52 w 59"/>
                <a:gd name="T69" fmla="*/ 23 h 31"/>
                <a:gd name="T70" fmla="*/ 53 w 59"/>
                <a:gd name="T71" fmla="*/ 22 h 31"/>
                <a:gd name="T72" fmla="*/ 54 w 59"/>
                <a:gd name="T73" fmla="*/ 21 h 31"/>
                <a:gd name="T74" fmla="*/ 55 w 59"/>
                <a:gd name="T75" fmla="*/ 20 h 31"/>
                <a:gd name="T76" fmla="*/ 59 w 59"/>
                <a:gd name="T77" fmla="*/ 8 h 31"/>
                <a:gd name="T78" fmla="*/ 59 w 59"/>
                <a:gd name="T7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9" h="31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6"/>
                    <a:pt x="5" y="27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0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3" y="30"/>
                    <a:pt x="14" y="30"/>
                    <a:pt x="15" y="30"/>
                  </a:cubicBezTo>
                  <a:cubicBezTo>
                    <a:pt x="16" y="30"/>
                    <a:pt x="16" y="30"/>
                    <a:pt x="17" y="30"/>
                  </a:cubicBezTo>
                  <a:cubicBezTo>
                    <a:pt x="17" y="30"/>
                    <a:pt x="18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1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7" y="30"/>
                    <a:pt x="14" y="30"/>
                    <a:pt x="10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7" y="28"/>
                    <a:pt x="7" y="28"/>
                    <a:pt x="6" y="28"/>
                  </a:cubicBezTo>
                  <a:cubicBezTo>
                    <a:pt x="6" y="28"/>
                    <a:pt x="6" y="28"/>
                    <a:pt x="5" y="27"/>
                  </a:cubicBezTo>
                  <a:cubicBezTo>
                    <a:pt x="3" y="27"/>
                    <a:pt x="2" y="26"/>
                    <a:pt x="0" y="25"/>
                  </a:cubicBezTo>
                  <a:moveTo>
                    <a:pt x="59" y="0"/>
                  </a:move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2"/>
                  </a:cubicBezTo>
                  <a:cubicBezTo>
                    <a:pt x="58" y="2"/>
                    <a:pt x="58" y="2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3"/>
                    <a:pt x="58" y="4"/>
                    <a:pt x="58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4"/>
                    <a:pt x="58" y="5"/>
                    <a:pt x="57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57" y="6"/>
                    <a:pt x="57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6" y="7"/>
                    <a:pt x="56" y="8"/>
                    <a:pt x="55" y="8"/>
                  </a:cubicBezTo>
                  <a:cubicBezTo>
                    <a:pt x="55" y="9"/>
                    <a:pt x="55" y="9"/>
                    <a:pt x="55" y="10"/>
                  </a:cubicBezTo>
                  <a:cubicBezTo>
                    <a:pt x="53" y="11"/>
                    <a:pt x="52" y="13"/>
                    <a:pt x="50" y="14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8" y="15"/>
                    <a:pt x="48" y="16"/>
                    <a:pt x="47" y="16"/>
                  </a:cubicBezTo>
                  <a:cubicBezTo>
                    <a:pt x="46" y="17"/>
                    <a:pt x="45" y="18"/>
                    <a:pt x="44" y="18"/>
                  </a:cubicBezTo>
                  <a:cubicBezTo>
                    <a:pt x="40" y="20"/>
                    <a:pt x="35" y="22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6" y="24"/>
                    <a:pt x="24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6"/>
                    <a:pt x="22" y="28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3" y="31"/>
                    <a:pt x="23" y="31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8" y="31"/>
                    <a:pt x="32" y="30"/>
                    <a:pt x="35" y="30"/>
                  </a:cubicBezTo>
                  <a:cubicBezTo>
                    <a:pt x="36" y="30"/>
                    <a:pt x="36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9" y="29"/>
                    <a:pt x="40" y="29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5" y="27"/>
                    <a:pt x="49" y="25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3" y="22"/>
                    <a:pt x="53" y="22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7" y="18"/>
                    <a:pt x="59" y="14"/>
                    <a:pt x="59" y="11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4"/>
                    <a:pt x="59" y="2"/>
                    <a:pt x="59" y="0"/>
                  </a:cubicBezTo>
                </a:path>
              </a:pathLst>
            </a:custGeom>
            <a:solidFill>
              <a:srgbClr val="826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pic>
          <p:nvPicPr>
            <p:cNvPr id="265" name="图片 264">
              <a:extLst>
                <a:ext uri="{FF2B5EF4-FFF2-40B4-BE49-F238E27FC236}">
                  <a16:creationId xmlns:a16="http://schemas.microsoft.com/office/drawing/2014/main" id="{AB147BE4-704A-4DBE-90D0-F18C604E8C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9213" y="3349625"/>
              <a:ext cx="71438" cy="46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6" name="任意多边形 265">
              <a:extLst>
                <a:ext uri="{FF2B5EF4-FFF2-40B4-BE49-F238E27FC236}">
                  <a16:creationId xmlns:a16="http://schemas.microsoft.com/office/drawing/2014/main" id="{717CD92E-076F-4484-B590-E87DF3A03799}"/>
                </a:ext>
              </a:extLst>
            </p:cNvPr>
            <p:cNvSpPr/>
            <p:nvPr/>
          </p:nvSpPr>
          <p:spPr bwMode="auto">
            <a:xfrm>
              <a:off x="7685088" y="3359150"/>
              <a:ext cx="44450" cy="23812"/>
            </a:xfrm>
            <a:custGeom>
              <a:avLst/>
              <a:gdLst>
                <a:gd name="T0" fmla="*/ 17 w 17"/>
                <a:gd name="T1" fmla="*/ 0 h 9"/>
                <a:gd name="T2" fmla="*/ 0 w 17"/>
                <a:gd name="T3" fmla="*/ 9 h 9"/>
                <a:gd name="T4" fmla="*/ 12 w 17"/>
                <a:gd name="T5" fmla="*/ 5 h 9"/>
                <a:gd name="T6" fmla="*/ 17 w 17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9">
                  <a:moveTo>
                    <a:pt x="17" y="0"/>
                  </a:moveTo>
                  <a:cubicBezTo>
                    <a:pt x="13" y="4"/>
                    <a:pt x="7" y="7"/>
                    <a:pt x="0" y="9"/>
                  </a:cubicBezTo>
                  <a:cubicBezTo>
                    <a:pt x="4" y="8"/>
                    <a:pt x="8" y="7"/>
                    <a:pt x="12" y="5"/>
                  </a:cubicBezTo>
                  <a:cubicBezTo>
                    <a:pt x="14" y="3"/>
                    <a:pt x="16" y="2"/>
                    <a:pt x="17" y="0"/>
                  </a:cubicBezTo>
                </a:path>
              </a:pathLst>
            </a:custGeom>
            <a:solidFill>
              <a:srgbClr val="AF99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7" name="任意多边形 266">
              <a:extLst>
                <a:ext uri="{FF2B5EF4-FFF2-40B4-BE49-F238E27FC236}">
                  <a16:creationId xmlns:a16="http://schemas.microsoft.com/office/drawing/2014/main" id="{6682BEEC-BFE4-485B-B57B-3CFD37F0B901}"/>
                </a:ext>
              </a:extLst>
            </p:cNvPr>
            <p:cNvSpPr/>
            <p:nvPr/>
          </p:nvSpPr>
          <p:spPr bwMode="auto">
            <a:xfrm>
              <a:off x="7643813" y="3338513"/>
              <a:ext cx="98425" cy="96837"/>
            </a:xfrm>
            <a:custGeom>
              <a:avLst/>
              <a:gdLst>
                <a:gd name="T0" fmla="*/ 38 w 38"/>
                <a:gd name="T1" fmla="*/ 0 h 37"/>
                <a:gd name="T2" fmla="*/ 37 w 38"/>
                <a:gd name="T3" fmla="*/ 3 h 37"/>
                <a:gd name="T4" fmla="*/ 36 w 38"/>
                <a:gd name="T5" fmla="*/ 5 h 37"/>
                <a:gd name="T6" fmla="*/ 36 w 38"/>
                <a:gd name="T7" fmla="*/ 5 h 37"/>
                <a:gd name="T8" fmla="*/ 34 w 38"/>
                <a:gd name="T9" fmla="*/ 8 h 37"/>
                <a:gd name="T10" fmla="*/ 33 w 38"/>
                <a:gd name="T11" fmla="*/ 8 h 37"/>
                <a:gd name="T12" fmla="*/ 28 w 38"/>
                <a:gd name="T13" fmla="*/ 13 h 37"/>
                <a:gd name="T14" fmla="*/ 15 w 38"/>
                <a:gd name="T15" fmla="*/ 17 h 37"/>
                <a:gd name="T16" fmla="*/ 4 w 38"/>
                <a:gd name="T17" fmla="*/ 18 h 37"/>
                <a:gd name="T18" fmla="*/ 1 w 38"/>
                <a:gd name="T19" fmla="*/ 18 h 37"/>
                <a:gd name="T20" fmla="*/ 1 w 38"/>
                <a:gd name="T21" fmla="*/ 37 h 37"/>
                <a:gd name="T22" fmla="*/ 3 w 38"/>
                <a:gd name="T23" fmla="*/ 37 h 37"/>
                <a:gd name="T24" fmla="*/ 28 w 38"/>
                <a:gd name="T25" fmla="*/ 31 h 37"/>
                <a:gd name="T26" fmla="*/ 38 w 38"/>
                <a:gd name="T27" fmla="*/ 18 h 37"/>
                <a:gd name="T28" fmla="*/ 38 w 38"/>
                <a:gd name="T29" fmla="*/ 8 h 37"/>
                <a:gd name="T30" fmla="*/ 38 w 38"/>
                <a:gd name="T3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7">
                  <a:moveTo>
                    <a:pt x="38" y="0"/>
                  </a:moveTo>
                  <a:cubicBezTo>
                    <a:pt x="38" y="1"/>
                    <a:pt x="38" y="2"/>
                    <a:pt x="37" y="3"/>
                  </a:cubicBezTo>
                  <a:cubicBezTo>
                    <a:pt x="37" y="3"/>
                    <a:pt x="37" y="4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5" y="7"/>
                    <a:pt x="34" y="8"/>
                  </a:cubicBezTo>
                  <a:cubicBezTo>
                    <a:pt x="34" y="8"/>
                    <a:pt x="33" y="8"/>
                    <a:pt x="33" y="8"/>
                  </a:cubicBezTo>
                  <a:cubicBezTo>
                    <a:pt x="32" y="10"/>
                    <a:pt x="30" y="11"/>
                    <a:pt x="28" y="13"/>
                  </a:cubicBezTo>
                  <a:cubicBezTo>
                    <a:pt x="24" y="15"/>
                    <a:pt x="20" y="16"/>
                    <a:pt x="15" y="17"/>
                  </a:cubicBezTo>
                  <a:cubicBezTo>
                    <a:pt x="11" y="18"/>
                    <a:pt x="8" y="18"/>
                    <a:pt x="4" y="18"/>
                  </a:cubicBezTo>
                  <a:cubicBezTo>
                    <a:pt x="3" y="18"/>
                    <a:pt x="2" y="18"/>
                    <a:pt x="1" y="18"/>
                  </a:cubicBezTo>
                  <a:cubicBezTo>
                    <a:pt x="1" y="24"/>
                    <a:pt x="0" y="36"/>
                    <a:pt x="1" y="37"/>
                  </a:cubicBezTo>
                  <a:cubicBezTo>
                    <a:pt x="2" y="37"/>
                    <a:pt x="2" y="37"/>
                    <a:pt x="3" y="37"/>
                  </a:cubicBezTo>
                  <a:cubicBezTo>
                    <a:pt x="12" y="37"/>
                    <a:pt x="21" y="35"/>
                    <a:pt x="28" y="31"/>
                  </a:cubicBezTo>
                  <a:cubicBezTo>
                    <a:pt x="34" y="27"/>
                    <a:pt x="38" y="22"/>
                    <a:pt x="38" y="18"/>
                  </a:cubicBezTo>
                  <a:cubicBezTo>
                    <a:pt x="38" y="17"/>
                    <a:pt x="38" y="19"/>
                    <a:pt x="38" y="8"/>
                  </a:cubicBezTo>
                  <a:cubicBezTo>
                    <a:pt x="38" y="4"/>
                    <a:pt x="38" y="1"/>
                    <a:pt x="38" y="0"/>
                  </a:cubicBezTo>
                </a:path>
              </a:pathLst>
            </a:custGeom>
            <a:solidFill>
              <a:srgbClr val="AA73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8" name="任意多边形 267">
              <a:extLst>
                <a:ext uri="{FF2B5EF4-FFF2-40B4-BE49-F238E27FC236}">
                  <a16:creationId xmlns:a16="http://schemas.microsoft.com/office/drawing/2014/main" id="{476E283F-DD89-40EF-9CF8-4948D338DC03}"/>
                </a:ext>
              </a:extLst>
            </p:cNvPr>
            <p:cNvSpPr/>
            <p:nvPr/>
          </p:nvSpPr>
          <p:spPr bwMode="auto">
            <a:xfrm>
              <a:off x="7594601" y="3074988"/>
              <a:ext cx="103188" cy="100012"/>
            </a:xfrm>
            <a:custGeom>
              <a:avLst/>
              <a:gdLst>
                <a:gd name="T0" fmla="*/ 39 w 40"/>
                <a:gd name="T1" fmla="*/ 35 h 38"/>
                <a:gd name="T2" fmla="*/ 35 w 40"/>
                <a:gd name="T3" fmla="*/ 29 h 38"/>
                <a:gd name="T4" fmla="*/ 39 w 40"/>
                <a:gd name="T5" fmla="*/ 23 h 38"/>
                <a:gd name="T6" fmla="*/ 34 w 40"/>
                <a:gd name="T7" fmla="*/ 24 h 38"/>
                <a:gd name="T8" fmla="*/ 33 w 40"/>
                <a:gd name="T9" fmla="*/ 28 h 38"/>
                <a:gd name="T10" fmla="*/ 24 w 40"/>
                <a:gd name="T11" fmla="*/ 23 h 38"/>
                <a:gd name="T12" fmla="*/ 29 w 40"/>
                <a:gd name="T13" fmla="*/ 17 h 38"/>
                <a:gd name="T14" fmla="*/ 24 w 40"/>
                <a:gd name="T15" fmla="*/ 18 h 38"/>
                <a:gd name="T16" fmla="*/ 22 w 40"/>
                <a:gd name="T17" fmla="*/ 22 h 38"/>
                <a:gd name="T18" fmla="*/ 14 w 40"/>
                <a:gd name="T19" fmla="*/ 17 h 38"/>
                <a:gd name="T20" fmla="*/ 18 w 40"/>
                <a:gd name="T21" fmla="*/ 11 h 38"/>
                <a:gd name="T22" fmla="*/ 13 w 40"/>
                <a:gd name="T23" fmla="*/ 12 h 38"/>
                <a:gd name="T24" fmla="*/ 12 w 40"/>
                <a:gd name="T25" fmla="*/ 16 h 38"/>
                <a:gd name="T26" fmla="*/ 7 w 40"/>
                <a:gd name="T27" fmla="*/ 17 h 38"/>
                <a:gd name="T28" fmla="*/ 4 w 40"/>
                <a:gd name="T29" fmla="*/ 7 h 38"/>
                <a:gd name="T30" fmla="*/ 7 w 40"/>
                <a:gd name="T31" fmla="*/ 6 h 38"/>
                <a:gd name="T32" fmla="*/ 3 w 40"/>
                <a:gd name="T33" fmla="*/ 6 h 38"/>
                <a:gd name="T34" fmla="*/ 7 w 40"/>
                <a:gd name="T35" fmla="*/ 19 h 38"/>
                <a:gd name="T36" fmla="*/ 12 w 40"/>
                <a:gd name="T37" fmla="*/ 18 h 38"/>
                <a:gd name="T38" fmla="*/ 22 w 40"/>
                <a:gd name="T39" fmla="*/ 24 h 38"/>
                <a:gd name="T40" fmla="*/ 33 w 40"/>
                <a:gd name="T41" fmla="*/ 31 h 38"/>
                <a:gd name="T42" fmla="*/ 38 w 40"/>
                <a:gd name="T43" fmla="*/ 37 h 38"/>
                <a:gd name="T44" fmla="*/ 40 w 40"/>
                <a:gd name="T45" fmla="*/ 36 h 38"/>
                <a:gd name="T46" fmla="*/ 39 w 40"/>
                <a:gd name="T47" fmla="*/ 35 h 38"/>
                <a:gd name="T48" fmla="*/ 37 w 40"/>
                <a:gd name="T49" fmla="*/ 24 h 38"/>
                <a:gd name="T50" fmla="*/ 36 w 40"/>
                <a:gd name="T51" fmla="*/ 25 h 38"/>
                <a:gd name="T52" fmla="*/ 37 w 40"/>
                <a:gd name="T53" fmla="*/ 24 h 38"/>
                <a:gd name="T54" fmla="*/ 26 w 40"/>
                <a:gd name="T55" fmla="*/ 18 h 38"/>
                <a:gd name="T56" fmla="*/ 25 w 40"/>
                <a:gd name="T57" fmla="*/ 19 h 38"/>
                <a:gd name="T58" fmla="*/ 26 w 40"/>
                <a:gd name="T59" fmla="*/ 18 h 38"/>
                <a:gd name="T60" fmla="*/ 16 w 40"/>
                <a:gd name="T61" fmla="*/ 11 h 38"/>
                <a:gd name="T62" fmla="*/ 15 w 40"/>
                <a:gd name="T63" fmla="*/ 13 h 38"/>
                <a:gd name="T64" fmla="*/ 16 w 40"/>
                <a:gd name="T65" fmla="*/ 11 h 38"/>
                <a:gd name="T66" fmla="*/ 5 w 40"/>
                <a:gd name="T67" fmla="*/ 5 h 38"/>
                <a:gd name="T68" fmla="*/ 4 w 40"/>
                <a:gd name="T69" fmla="*/ 7 h 38"/>
                <a:gd name="T70" fmla="*/ 5 w 40"/>
                <a:gd name="T71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38">
                  <a:moveTo>
                    <a:pt x="39" y="35"/>
                  </a:moveTo>
                  <a:cubicBezTo>
                    <a:pt x="36" y="35"/>
                    <a:pt x="35" y="32"/>
                    <a:pt x="35" y="29"/>
                  </a:cubicBezTo>
                  <a:cubicBezTo>
                    <a:pt x="37" y="28"/>
                    <a:pt x="39" y="25"/>
                    <a:pt x="39" y="23"/>
                  </a:cubicBezTo>
                  <a:cubicBezTo>
                    <a:pt x="39" y="20"/>
                    <a:pt x="36" y="19"/>
                    <a:pt x="34" y="24"/>
                  </a:cubicBezTo>
                  <a:cubicBezTo>
                    <a:pt x="33" y="25"/>
                    <a:pt x="33" y="27"/>
                    <a:pt x="33" y="28"/>
                  </a:cubicBezTo>
                  <a:cubicBezTo>
                    <a:pt x="28" y="31"/>
                    <a:pt x="24" y="29"/>
                    <a:pt x="24" y="23"/>
                  </a:cubicBezTo>
                  <a:cubicBezTo>
                    <a:pt x="26" y="22"/>
                    <a:pt x="29" y="19"/>
                    <a:pt x="29" y="17"/>
                  </a:cubicBezTo>
                  <a:cubicBezTo>
                    <a:pt x="29" y="14"/>
                    <a:pt x="26" y="13"/>
                    <a:pt x="24" y="18"/>
                  </a:cubicBezTo>
                  <a:cubicBezTo>
                    <a:pt x="23" y="19"/>
                    <a:pt x="23" y="21"/>
                    <a:pt x="22" y="22"/>
                  </a:cubicBezTo>
                  <a:cubicBezTo>
                    <a:pt x="18" y="25"/>
                    <a:pt x="14" y="23"/>
                    <a:pt x="14" y="17"/>
                  </a:cubicBezTo>
                  <a:cubicBezTo>
                    <a:pt x="16" y="16"/>
                    <a:pt x="18" y="13"/>
                    <a:pt x="18" y="11"/>
                  </a:cubicBezTo>
                  <a:cubicBezTo>
                    <a:pt x="18" y="8"/>
                    <a:pt x="15" y="7"/>
                    <a:pt x="13" y="12"/>
                  </a:cubicBezTo>
                  <a:cubicBezTo>
                    <a:pt x="12" y="13"/>
                    <a:pt x="12" y="15"/>
                    <a:pt x="12" y="16"/>
                  </a:cubicBezTo>
                  <a:cubicBezTo>
                    <a:pt x="10" y="17"/>
                    <a:pt x="9" y="17"/>
                    <a:pt x="7" y="17"/>
                  </a:cubicBezTo>
                  <a:cubicBezTo>
                    <a:pt x="3" y="17"/>
                    <a:pt x="3" y="11"/>
                    <a:pt x="4" y="7"/>
                  </a:cubicBezTo>
                  <a:cubicBezTo>
                    <a:pt x="5" y="8"/>
                    <a:pt x="7" y="7"/>
                    <a:pt x="7" y="6"/>
                  </a:cubicBezTo>
                  <a:cubicBezTo>
                    <a:pt x="9" y="2"/>
                    <a:pt x="5" y="0"/>
                    <a:pt x="3" y="6"/>
                  </a:cubicBezTo>
                  <a:cubicBezTo>
                    <a:pt x="0" y="11"/>
                    <a:pt x="1" y="19"/>
                    <a:pt x="7" y="19"/>
                  </a:cubicBezTo>
                  <a:cubicBezTo>
                    <a:pt x="9" y="20"/>
                    <a:pt x="10" y="19"/>
                    <a:pt x="12" y="18"/>
                  </a:cubicBezTo>
                  <a:cubicBezTo>
                    <a:pt x="12" y="24"/>
                    <a:pt x="17" y="27"/>
                    <a:pt x="22" y="24"/>
                  </a:cubicBezTo>
                  <a:cubicBezTo>
                    <a:pt x="23" y="31"/>
                    <a:pt x="28" y="33"/>
                    <a:pt x="33" y="31"/>
                  </a:cubicBezTo>
                  <a:cubicBezTo>
                    <a:pt x="33" y="34"/>
                    <a:pt x="35" y="37"/>
                    <a:pt x="38" y="37"/>
                  </a:cubicBezTo>
                  <a:cubicBezTo>
                    <a:pt x="39" y="38"/>
                    <a:pt x="39" y="37"/>
                    <a:pt x="40" y="36"/>
                  </a:cubicBezTo>
                  <a:cubicBezTo>
                    <a:pt x="40" y="36"/>
                    <a:pt x="39" y="35"/>
                    <a:pt x="39" y="35"/>
                  </a:cubicBezTo>
                  <a:close/>
                  <a:moveTo>
                    <a:pt x="37" y="24"/>
                  </a:moveTo>
                  <a:cubicBezTo>
                    <a:pt x="37" y="24"/>
                    <a:pt x="36" y="25"/>
                    <a:pt x="36" y="25"/>
                  </a:cubicBezTo>
                  <a:cubicBezTo>
                    <a:pt x="36" y="25"/>
                    <a:pt x="37" y="24"/>
                    <a:pt x="37" y="24"/>
                  </a:cubicBezTo>
                  <a:close/>
                  <a:moveTo>
                    <a:pt x="26" y="18"/>
                  </a:moveTo>
                  <a:cubicBezTo>
                    <a:pt x="26" y="18"/>
                    <a:pt x="26" y="19"/>
                    <a:pt x="25" y="19"/>
                  </a:cubicBezTo>
                  <a:cubicBezTo>
                    <a:pt x="26" y="19"/>
                    <a:pt x="26" y="18"/>
                    <a:pt x="26" y="18"/>
                  </a:cubicBezTo>
                  <a:close/>
                  <a:moveTo>
                    <a:pt x="16" y="11"/>
                  </a:moveTo>
                  <a:cubicBezTo>
                    <a:pt x="16" y="12"/>
                    <a:pt x="15" y="13"/>
                    <a:pt x="15" y="13"/>
                  </a:cubicBezTo>
                  <a:cubicBezTo>
                    <a:pt x="15" y="13"/>
                    <a:pt x="16" y="12"/>
                    <a:pt x="16" y="11"/>
                  </a:cubicBezTo>
                  <a:close/>
                  <a:moveTo>
                    <a:pt x="5" y="5"/>
                  </a:moveTo>
                  <a:cubicBezTo>
                    <a:pt x="5" y="6"/>
                    <a:pt x="5" y="7"/>
                    <a:pt x="4" y="7"/>
                  </a:cubicBezTo>
                  <a:cubicBezTo>
                    <a:pt x="5" y="7"/>
                    <a:pt x="5" y="6"/>
                    <a:pt x="5" y="5"/>
                  </a:cubicBezTo>
                  <a:close/>
                </a:path>
              </a:pathLst>
            </a:custGeom>
            <a:solidFill>
              <a:srgbClr val="EEE6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9" name="任意多边形 268">
              <a:extLst>
                <a:ext uri="{FF2B5EF4-FFF2-40B4-BE49-F238E27FC236}">
                  <a16:creationId xmlns:a16="http://schemas.microsoft.com/office/drawing/2014/main" id="{FEEE684F-FE91-4C31-A3FB-943C12DAB4EE}"/>
                </a:ext>
              </a:extLst>
            </p:cNvPr>
            <p:cNvSpPr/>
            <p:nvPr/>
          </p:nvSpPr>
          <p:spPr bwMode="auto">
            <a:xfrm>
              <a:off x="7688263" y="3138488"/>
              <a:ext cx="3175" cy="1587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E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0" name="任意多边形 269">
              <a:extLst>
                <a:ext uri="{FF2B5EF4-FFF2-40B4-BE49-F238E27FC236}">
                  <a16:creationId xmlns:a16="http://schemas.microsoft.com/office/drawing/2014/main" id="{9E59E3CA-587C-47B5-A4CE-4C69CFE8E404}"/>
                </a:ext>
              </a:extLst>
            </p:cNvPr>
            <p:cNvSpPr/>
            <p:nvPr/>
          </p:nvSpPr>
          <p:spPr bwMode="auto">
            <a:xfrm>
              <a:off x="7659688" y="3122613"/>
              <a:ext cx="1588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E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1" name="任意多边形 270">
              <a:extLst>
                <a:ext uri="{FF2B5EF4-FFF2-40B4-BE49-F238E27FC236}">
                  <a16:creationId xmlns:a16="http://schemas.microsoft.com/office/drawing/2014/main" id="{5034B1C6-C781-4C34-A170-28900FFA8DC4}"/>
                </a:ext>
              </a:extLst>
            </p:cNvPr>
            <p:cNvSpPr/>
            <p:nvPr/>
          </p:nvSpPr>
          <p:spPr bwMode="auto">
            <a:xfrm>
              <a:off x="7632701" y="3103563"/>
              <a:ext cx="3175" cy="6350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EE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2" name="任意多边形 271">
              <a:extLst>
                <a:ext uri="{FF2B5EF4-FFF2-40B4-BE49-F238E27FC236}">
                  <a16:creationId xmlns:a16="http://schemas.microsoft.com/office/drawing/2014/main" id="{C3B1DF56-2F08-41D1-AD73-41E97C2F5AE2}"/>
                </a:ext>
              </a:extLst>
            </p:cNvPr>
            <p:cNvSpPr/>
            <p:nvPr/>
          </p:nvSpPr>
          <p:spPr bwMode="auto">
            <a:xfrm>
              <a:off x="5697538" y="5543550"/>
              <a:ext cx="31750" cy="150812"/>
            </a:xfrm>
            <a:custGeom>
              <a:avLst/>
              <a:gdLst>
                <a:gd name="T0" fmla="*/ 12 w 12"/>
                <a:gd name="T1" fmla="*/ 34 h 58"/>
                <a:gd name="T2" fmla="*/ 0 w 12"/>
                <a:gd name="T3" fmla="*/ 58 h 58"/>
                <a:gd name="T4" fmla="*/ 0 w 12"/>
                <a:gd name="T5" fmla="*/ 24 h 58"/>
                <a:gd name="T6" fmla="*/ 12 w 12"/>
                <a:gd name="T7" fmla="*/ 0 h 58"/>
                <a:gd name="T8" fmla="*/ 12 w 12"/>
                <a:gd name="T9" fmla="*/ 3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8">
                  <a:moveTo>
                    <a:pt x="12" y="34"/>
                  </a:moveTo>
                  <a:cubicBezTo>
                    <a:pt x="12" y="42"/>
                    <a:pt x="8" y="50"/>
                    <a:pt x="0" y="5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8" y="16"/>
                    <a:pt x="12" y="8"/>
                    <a:pt x="12" y="0"/>
                  </a:cubicBezTo>
                  <a:cubicBezTo>
                    <a:pt x="12" y="11"/>
                    <a:pt x="12" y="23"/>
                    <a:pt x="12" y="34"/>
                  </a:cubicBezTo>
                </a:path>
              </a:pathLst>
            </a:custGeom>
            <a:solidFill>
              <a:srgbClr val="AA22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3" name="任意多边形 272">
              <a:extLst>
                <a:ext uri="{FF2B5EF4-FFF2-40B4-BE49-F238E27FC236}">
                  <a16:creationId xmlns:a16="http://schemas.microsoft.com/office/drawing/2014/main" id="{5C29907F-DE20-46DE-AB87-69D8935E97C1}"/>
                </a:ext>
              </a:extLst>
            </p:cNvPr>
            <p:cNvSpPr/>
            <p:nvPr/>
          </p:nvSpPr>
          <p:spPr bwMode="auto">
            <a:xfrm>
              <a:off x="5635626" y="5581650"/>
              <a:ext cx="61913" cy="112712"/>
            </a:xfrm>
            <a:custGeom>
              <a:avLst/>
              <a:gdLst>
                <a:gd name="T0" fmla="*/ 39 w 39"/>
                <a:gd name="T1" fmla="*/ 15 h 71"/>
                <a:gd name="T2" fmla="*/ 39 w 39"/>
                <a:gd name="T3" fmla="*/ 71 h 71"/>
                <a:gd name="T4" fmla="*/ 0 w 39"/>
                <a:gd name="T5" fmla="*/ 58 h 71"/>
                <a:gd name="T6" fmla="*/ 0 w 39"/>
                <a:gd name="T7" fmla="*/ 0 h 71"/>
                <a:gd name="T8" fmla="*/ 39 w 39"/>
                <a:gd name="T9" fmla="*/ 1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71">
                  <a:moveTo>
                    <a:pt x="39" y="15"/>
                  </a:moveTo>
                  <a:lnTo>
                    <a:pt x="39" y="71"/>
                  </a:lnTo>
                  <a:lnTo>
                    <a:pt x="0" y="58"/>
                  </a:lnTo>
                  <a:lnTo>
                    <a:pt x="0" y="0"/>
                  </a:lnTo>
                  <a:lnTo>
                    <a:pt x="39" y="15"/>
                  </a:lnTo>
                  <a:close/>
                </a:path>
              </a:pathLst>
            </a:custGeom>
            <a:solidFill>
              <a:srgbClr val="D244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4" name="任意多边形 273">
              <a:extLst>
                <a:ext uri="{FF2B5EF4-FFF2-40B4-BE49-F238E27FC236}">
                  <a16:creationId xmlns:a16="http://schemas.microsoft.com/office/drawing/2014/main" id="{E9B89132-30D3-4AC9-9484-E5E31FC22A71}"/>
                </a:ext>
              </a:extLst>
            </p:cNvPr>
            <p:cNvSpPr/>
            <p:nvPr/>
          </p:nvSpPr>
          <p:spPr bwMode="auto">
            <a:xfrm>
              <a:off x="5635626" y="5581650"/>
              <a:ext cx="61913" cy="112712"/>
            </a:xfrm>
            <a:custGeom>
              <a:avLst/>
              <a:gdLst>
                <a:gd name="T0" fmla="*/ 39 w 39"/>
                <a:gd name="T1" fmla="*/ 15 h 71"/>
                <a:gd name="T2" fmla="*/ 39 w 39"/>
                <a:gd name="T3" fmla="*/ 71 h 71"/>
                <a:gd name="T4" fmla="*/ 0 w 39"/>
                <a:gd name="T5" fmla="*/ 58 h 71"/>
                <a:gd name="T6" fmla="*/ 0 w 39"/>
                <a:gd name="T7" fmla="*/ 0 h 71"/>
                <a:gd name="T8" fmla="*/ 39 w 39"/>
                <a:gd name="T9" fmla="*/ 1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71">
                  <a:moveTo>
                    <a:pt x="39" y="15"/>
                  </a:moveTo>
                  <a:lnTo>
                    <a:pt x="39" y="71"/>
                  </a:lnTo>
                  <a:lnTo>
                    <a:pt x="0" y="58"/>
                  </a:lnTo>
                  <a:lnTo>
                    <a:pt x="0" y="0"/>
                  </a:lnTo>
                  <a:lnTo>
                    <a:pt x="39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5" name="任意多边形 274">
              <a:extLst>
                <a:ext uri="{FF2B5EF4-FFF2-40B4-BE49-F238E27FC236}">
                  <a16:creationId xmlns:a16="http://schemas.microsoft.com/office/drawing/2014/main" id="{66ED182E-3FE4-4EE1-A7C0-DD8CF9CFAACF}"/>
                </a:ext>
              </a:extLst>
            </p:cNvPr>
            <p:cNvSpPr/>
            <p:nvPr/>
          </p:nvSpPr>
          <p:spPr bwMode="auto">
            <a:xfrm>
              <a:off x="5245101" y="5440363"/>
              <a:ext cx="414338" cy="190500"/>
            </a:xfrm>
            <a:custGeom>
              <a:avLst/>
              <a:gdLst>
                <a:gd name="T0" fmla="*/ 159 w 159"/>
                <a:gd name="T1" fmla="*/ 32 h 73"/>
                <a:gd name="T2" fmla="*/ 159 w 159"/>
                <a:gd name="T3" fmla="*/ 36 h 73"/>
                <a:gd name="T4" fmla="*/ 150 w 159"/>
                <a:gd name="T5" fmla="*/ 54 h 73"/>
                <a:gd name="T6" fmla="*/ 141 w 159"/>
                <a:gd name="T7" fmla="*/ 48 h 73"/>
                <a:gd name="T8" fmla="*/ 104 w 159"/>
                <a:gd name="T9" fmla="*/ 36 h 73"/>
                <a:gd name="T10" fmla="*/ 66 w 159"/>
                <a:gd name="T11" fmla="*/ 39 h 73"/>
                <a:gd name="T12" fmla="*/ 33 w 159"/>
                <a:gd name="T13" fmla="*/ 53 h 73"/>
                <a:gd name="T14" fmla="*/ 8 w 159"/>
                <a:gd name="T15" fmla="*/ 73 h 73"/>
                <a:gd name="T16" fmla="*/ 1 w 159"/>
                <a:gd name="T17" fmla="*/ 63 h 73"/>
                <a:gd name="T18" fmla="*/ 0 w 159"/>
                <a:gd name="T19" fmla="*/ 56 h 73"/>
                <a:gd name="T20" fmla="*/ 5 w 159"/>
                <a:gd name="T21" fmla="*/ 41 h 73"/>
                <a:gd name="T22" fmla="*/ 33 w 159"/>
                <a:gd name="T23" fmla="*/ 19 h 73"/>
                <a:gd name="T24" fmla="*/ 66 w 159"/>
                <a:gd name="T25" fmla="*/ 5 h 73"/>
                <a:gd name="T26" fmla="*/ 104 w 159"/>
                <a:gd name="T27" fmla="*/ 2 h 73"/>
                <a:gd name="T28" fmla="*/ 141 w 159"/>
                <a:gd name="T29" fmla="*/ 13 h 73"/>
                <a:gd name="T30" fmla="*/ 159 w 159"/>
                <a:gd name="T31" fmla="*/ 3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9" h="73">
                  <a:moveTo>
                    <a:pt x="159" y="32"/>
                  </a:moveTo>
                  <a:cubicBezTo>
                    <a:pt x="159" y="33"/>
                    <a:pt x="159" y="34"/>
                    <a:pt x="159" y="36"/>
                  </a:cubicBezTo>
                  <a:cubicBezTo>
                    <a:pt x="159" y="41"/>
                    <a:pt x="156" y="47"/>
                    <a:pt x="150" y="54"/>
                  </a:cubicBezTo>
                  <a:cubicBezTo>
                    <a:pt x="148" y="52"/>
                    <a:pt x="145" y="50"/>
                    <a:pt x="141" y="48"/>
                  </a:cubicBezTo>
                  <a:cubicBezTo>
                    <a:pt x="130" y="41"/>
                    <a:pt x="118" y="37"/>
                    <a:pt x="104" y="36"/>
                  </a:cubicBezTo>
                  <a:cubicBezTo>
                    <a:pt x="91" y="35"/>
                    <a:pt x="79" y="36"/>
                    <a:pt x="66" y="39"/>
                  </a:cubicBezTo>
                  <a:cubicBezTo>
                    <a:pt x="54" y="43"/>
                    <a:pt x="43" y="48"/>
                    <a:pt x="33" y="53"/>
                  </a:cubicBezTo>
                  <a:cubicBezTo>
                    <a:pt x="22" y="60"/>
                    <a:pt x="13" y="66"/>
                    <a:pt x="8" y="73"/>
                  </a:cubicBezTo>
                  <a:cubicBezTo>
                    <a:pt x="5" y="70"/>
                    <a:pt x="3" y="67"/>
                    <a:pt x="1" y="63"/>
                  </a:cubicBezTo>
                  <a:cubicBezTo>
                    <a:pt x="0" y="61"/>
                    <a:pt x="0" y="58"/>
                    <a:pt x="0" y="56"/>
                  </a:cubicBezTo>
                  <a:cubicBezTo>
                    <a:pt x="0" y="51"/>
                    <a:pt x="2" y="46"/>
                    <a:pt x="5" y="41"/>
                  </a:cubicBezTo>
                  <a:cubicBezTo>
                    <a:pt x="11" y="34"/>
                    <a:pt x="20" y="26"/>
                    <a:pt x="33" y="19"/>
                  </a:cubicBezTo>
                  <a:cubicBezTo>
                    <a:pt x="43" y="13"/>
                    <a:pt x="54" y="9"/>
                    <a:pt x="66" y="5"/>
                  </a:cubicBezTo>
                  <a:cubicBezTo>
                    <a:pt x="79" y="2"/>
                    <a:pt x="91" y="0"/>
                    <a:pt x="104" y="2"/>
                  </a:cubicBezTo>
                  <a:cubicBezTo>
                    <a:pt x="118" y="3"/>
                    <a:pt x="130" y="7"/>
                    <a:pt x="141" y="13"/>
                  </a:cubicBezTo>
                  <a:cubicBezTo>
                    <a:pt x="151" y="19"/>
                    <a:pt x="157" y="25"/>
                    <a:pt x="159" y="32"/>
                  </a:cubicBezTo>
                </a:path>
              </a:pathLst>
            </a:custGeom>
            <a:solidFill>
              <a:srgbClr val="AA22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6" name="任意多边形 275">
              <a:extLst>
                <a:ext uri="{FF2B5EF4-FFF2-40B4-BE49-F238E27FC236}">
                  <a16:creationId xmlns:a16="http://schemas.microsoft.com/office/drawing/2014/main" id="{B5DA5A89-8B04-4B2B-AB1B-0DFF47962F68}"/>
                </a:ext>
              </a:extLst>
            </p:cNvPr>
            <p:cNvSpPr/>
            <p:nvPr/>
          </p:nvSpPr>
          <p:spPr bwMode="auto">
            <a:xfrm>
              <a:off x="5253038" y="4887913"/>
              <a:ext cx="401638" cy="485775"/>
            </a:xfrm>
            <a:custGeom>
              <a:avLst/>
              <a:gdLst>
                <a:gd name="T0" fmla="*/ 118 w 154"/>
                <a:gd name="T1" fmla="*/ 43 h 186"/>
                <a:gd name="T2" fmla="*/ 113 w 154"/>
                <a:gd name="T3" fmla="*/ 28 h 186"/>
                <a:gd name="T4" fmla="*/ 106 w 154"/>
                <a:gd name="T5" fmla="*/ 24 h 186"/>
                <a:gd name="T6" fmla="*/ 99 w 154"/>
                <a:gd name="T7" fmla="*/ 22 h 186"/>
                <a:gd name="T8" fmla="*/ 68 w 154"/>
                <a:gd name="T9" fmla="*/ 24 h 186"/>
                <a:gd name="T10" fmla="*/ 27 w 154"/>
                <a:gd name="T11" fmla="*/ 30 h 186"/>
                <a:gd name="T12" fmla="*/ 27 w 154"/>
                <a:gd name="T13" fmla="*/ 57 h 186"/>
                <a:gd name="T14" fmla="*/ 27 w 154"/>
                <a:gd name="T15" fmla="*/ 82 h 186"/>
                <a:gd name="T16" fmla="*/ 71 w 154"/>
                <a:gd name="T17" fmla="*/ 75 h 186"/>
                <a:gd name="T18" fmla="*/ 97 w 154"/>
                <a:gd name="T19" fmla="*/ 69 h 186"/>
                <a:gd name="T20" fmla="*/ 118 w 154"/>
                <a:gd name="T21" fmla="*/ 43 h 186"/>
                <a:gd name="T22" fmla="*/ 126 w 154"/>
                <a:gd name="T23" fmla="*/ 117 h 186"/>
                <a:gd name="T24" fmla="*/ 120 w 154"/>
                <a:gd name="T25" fmla="*/ 101 h 186"/>
                <a:gd name="T26" fmla="*/ 115 w 154"/>
                <a:gd name="T27" fmla="*/ 97 h 186"/>
                <a:gd name="T28" fmla="*/ 115 w 154"/>
                <a:gd name="T29" fmla="*/ 97 h 186"/>
                <a:gd name="T30" fmla="*/ 104 w 154"/>
                <a:gd name="T31" fmla="*/ 93 h 186"/>
                <a:gd name="T32" fmla="*/ 74 w 154"/>
                <a:gd name="T33" fmla="*/ 95 h 186"/>
                <a:gd name="T34" fmla="*/ 27 w 154"/>
                <a:gd name="T35" fmla="*/ 102 h 186"/>
                <a:gd name="T36" fmla="*/ 27 w 154"/>
                <a:gd name="T37" fmla="*/ 136 h 186"/>
                <a:gd name="T38" fmla="*/ 27 w 154"/>
                <a:gd name="T39" fmla="*/ 161 h 186"/>
                <a:gd name="T40" fmla="*/ 96 w 154"/>
                <a:gd name="T41" fmla="*/ 150 h 186"/>
                <a:gd name="T42" fmla="*/ 112 w 154"/>
                <a:gd name="T43" fmla="*/ 143 h 186"/>
                <a:gd name="T44" fmla="*/ 122 w 154"/>
                <a:gd name="T45" fmla="*/ 132 h 186"/>
                <a:gd name="T46" fmla="*/ 126 w 154"/>
                <a:gd name="T47" fmla="*/ 117 h 186"/>
                <a:gd name="T48" fmla="*/ 154 w 154"/>
                <a:gd name="T49" fmla="*/ 112 h 186"/>
                <a:gd name="T50" fmla="*/ 148 w 154"/>
                <a:gd name="T51" fmla="*/ 136 h 186"/>
                <a:gd name="T52" fmla="*/ 133 w 154"/>
                <a:gd name="T53" fmla="*/ 154 h 186"/>
                <a:gd name="T54" fmla="*/ 78 w 154"/>
                <a:gd name="T55" fmla="*/ 174 h 186"/>
                <a:gd name="T56" fmla="*/ 0 w 154"/>
                <a:gd name="T57" fmla="*/ 186 h 186"/>
                <a:gd name="T58" fmla="*/ 0 w 154"/>
                <a:gd name="T59" fmla="*/ 14 h 186"/>
                <a:gd name="T60" fmla="*/ 77 w 154"/>
                <a:gd name="T61" fmla="*/ 2 h 186"/>
                <a:gd name="T62" fmla="*/ 114 w 154"/>
                <a:gd name="T63" fmla="*/ 2 h 186"/>
                <a:gd name="T64" fmla="*/ 136 w 154"/>
                <a:gd name="T65" fmla="*/ 14 h 186"/>
                <a:gd name="T66" fmla="*/ 141 w 154"/>
                <a:gd name="T67" fmla="*/ 22 h 186"/>
                <a:gd name="T68" fmla="*/ 137 w 154"/>
                <a:gd name="T69" fmla="*/ 58 h 186"/>
                <a:gd name="T70" fmla="*/ 132 w 154"/>
                <a:gd name="T71" fmla="*/ 64 h 186"/>
                <a:gd name="T72" fmla="*/ 116 w 154"/>
                <a:gd name="T73" fmla="*/ 77 h 186"/>
                <a:gd name="T74" fmla="*/ 144 w 154"/>
                <a:gd name="T75" fmla="*/ 88 h 186"/>
                <a:gd name="T76" fmla="*/ 151 w 154"/>
                <a:gd name="T77" fmla="*/ 97 h 186"/>
                <a:gd name="T78" fmla="*/ 151 w 154"/>
                <a:gd name="T79" fmla="*/ 97 h 186"/>
                <a:gd name="T80" fmla="*/ 154 w 154"/>
                <a:gd name="T81" fmla="*/ 11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186">
                  <a:moveTo>
                    <a:pt x="118" y="43"/>
                  </a:moveTo>
                  <a:cubicBezTo>
                    <a:pt x="118" y="37"/>
                    <a:pt x="116" y="32"/>
                    <a:pt x="113" y="28"/>
                  </a:cubicBezTo>
                  <a:cubicBezTo>
                    <a:pt x="111" y="26"/>
                    <a:pt x="109" y="25"/>
                    <a:pt x="106" y="24"/>
                  </a:cubicBezTo>
                  <a:cubicBezTo>
                    <a:pt x="104" y="23"/>
                    <a:pt x="102" y="22"/>
                    <a:pt x="99" y="22"/>
                  </a:cubicBezTo>
                  <a:cubicBezTo>
                    <a:pt x="93" y="21"/>
                    <a:pt x="83" y="22"/>
                    <a:pt x="68" y="24"/>
                  </a:cubicBezTo>
                  <a:cubicBezTo>
                    <a:pt x="54" y="26"/>
                    <a:pt x="41" y="28"/>
                    <a:pt x="27" y="30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42" y="80"/>
                    <a:pt x="57" y="78"/>
                    <a:pt x="71" y="75"/>
                  </a:cubicBezTo>
                  <a:cubicBezTo>
                    <a:pt x="83" y="74"/>
                    <a:pt x="92" y="72"/>
                    <a:pt x="97" y="69"/>
                  </a:cubicBezTo>
                  <a:cubicBezTo>
                    <a:pt x="109" y="64"/>
                    <a:pt x="118" y="56"/>
                    <a:pt x="118" y="43"/>
                  </a:cubicBezTo>
                  <a:moveTo>
                    <a:pt x="126" y="117"/>
                  </a:moveTo>
                  <a:cubicBezTo>
                    <a:pt x="126" y="110"/>
                    <a:pt x="124" y="105"/>
                    <a:pt x="120" y="101"/>
                  </a:cubicBezTo>
                  <a:cubicBezTo>
                    <a:pt x="119" y="99"/>
                    <a:pt x="117" y="98"/>
                    <a:pt x="115" y="97"/>
                  </a:cubicBezTo>
                  <a:cubicBezTo>
                    <a:pt x="115" y="97"/>
                    <a:pt x="115" y="97"/>
                    <a:pt x="115" y="97"/>
                  </a:cubicBezTo>
                  <a:cubicBezTo>
                    <a:pt x="112" y="95"/>
                    <a:pt x="108" y="94"/>
                    <a:pt x="104" y="93"/>
                  </a:cubicBezTo>
                  <a:cubicBezTo>
                    <a:pt x="97" y="93"/>
                    <a:pt x="87" y="93"/>
                    <a:pt x="74" y="95"/>
                  </a:cubicBezTo>
                  <a:cubicBezTo>
                    <a:pt x="59" y="98"/>
                    <a:pt x="43" y="100"/>
                    <a:pt x="27" y="102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79" y="154"/>
                    <a:pt x="89" y="152"/>
                    <a:pt x="96" y="150"/>
                  </a:cubicBezTo>
                  <a:cubicBezTo>
                    <a:pt x="102" y="148"/>
                    <a:pt x="108" y="146"/>
                    <a:pt x="112" y="143"/>
                  </a:cubicBezTo>
                  <a:cubicBezTo>
                    <a:pt x="116" y="140"/>
                    <a:pt x="119" y="136"/>
                    <a:pt x="122" y="132"/>
                  </a:cubicBezTo>
                  <a:cubicBezTo>
                    <a:pt x="125" y="127"/>
                    <a:pt x="126" y="122"/>
                    <a:pt x="126" y="117"/>
                  </a:cubicBezTo>
                  <a:moveTo>
                    <a:pt x="154" y="112"/>
                  </a:moveTo>
                  <a:cubicBezTo>
                    <a:pt x="154" y="120"/>
                    <a:pt x="152" y="128"/>
                    <a:pt x="148" y="136"/>
                  </a:cubicBezTo>
                  <a:cubicBezTo>
                    <a:pt x="144" y="143"/>
                    <a:pt x="139" y="149"/>
                    <a:pt x="133" y="154"/>
                  </a:cubicBezTo>
                  <a:cubicBezTo>
                    <a:pt x="118" y="166"/>
                    <a:pt x="97" y="171"/>
                    <a:pt x="78" y="174"/>
                  </a:cubicBezTo>
                  <a:cubicBezTo>
                    <a:pt x="52" y="178"/>
                    <a:pt x="26" y="182"/>
                    <a:pt x="0" y="18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6" y="10"/>
                    <a:pt x="51" y="6"/>
                    <a:pt x="77" y="2"/>
                  </a:cubicBezTo>
                  <a:cubicBezTo>
                    <a:pt x="92" y="0"/>
                    <a:pt x="105" y="0"/>
                    <a:pt x="114" y="2"/>
                  </a:cubicBezTo>
                  <a:cubicBezTo>
                    <a:pt x="123" y="4"/>
                    <a:pt x="131" y="8"/>
                    <a:pt x="136" y="14"/>
                  </a:cubicBezTo>
                  <a:cubicBezTo>
                    <a:pt x="138" y="17"/>
                    <a:pt x="140" y="19"/>
                    <a:pt x="141" y="22"/>
                  </a:cubicBezTo>
                  <a:cubicBezTo>
                    <a:pt x="146" y="34"/>
                    <a:pt x="144" y="46"/>
                    <a:pt x="137" y="58"/>
                  </a:cubicBezTo>
                  <a:cubicBezTo>
                    <a:pt x="136" y="60"/>
                    <a:pt x="134" y="62"/>
                    <a:pt x="132" y="64"/>
                  </a:cubicBezTo>
                  <a:cubicBezTo>
                    <a:pt x="128" y="68"/>
                    <a:pt x="122" y="73"/>
                    <a:pt x="116" y="77"/>
                  </a:cubicBezTo>
                  <a:cubicBezTo>
                    <a:pt x="128" y="78"/>
                    <a:pt x="137" y="82"/>
                    <a:pt x="144" y="88"/>
                  </a:cubicBezTo>
                  <a:cubicBezTo>
                    <a:pt x="147" y="91"/>
                    <a:pt x="149" y="94"/>
                    <a:pt x="151" y="97"/>
                  </a:cubicBezTo>
                  <a:cubicBezTo>
                    <a:pt x="151" y="97"/>
                    <a:pt x="151" y="97"/>
                    <a:pt x="151" y="97"/>
                  </a:cubicBezTo>
                  <a:cubicBezTo>
                    <a:pt x="153" y="102"/>
                    <a:pt x="154" y="107"/>
                    <a:pt x="154" y="112"/>
                  </a:cubicBezTo>
                </a:path>
              </a:pathLst>
            </a:custGeom>
            <a:solidFill>
              <a:srgbClr val="814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7" name="任意多边形 276">
              <a:extLst>
                <a:ext uri="{FF2B5EF4-FFF2-40B4-BE49-F238E27FC236}">
                  <a16:creationId xmlns:a16="http://schemas.microsoft.com/office/drawing/2014/main" id="{C6314F10-1971-4D1B-B2BC-41169CABF1BA}"/>
                </a:ext>
              </a:extLst>
            </p:cNvPr>
            <p:cNvSpPr/>
            <p:nvPr/>
          </p:nvSpPr>
          <p:spPr bwMode="auto">
            <a:xfrm>
              <a:off x="5554663" y="5054600"/>
              <a:ext cx="92075" cy="87312"/>
            </a:xfrm>
            <a:custGeom>
              <a:avLst/>
              <a:gdLst>
                <a:gd name="T0" fmla="*/ 24 w 35"/>
                <a:gd name="T1" fmla="*/ 10 h 33"/>
                <a:gd name="T2" fmla="*/ 35 w 35"/>
                <a:gd name="T3" fmla="*/ 33 h 33"/>
                <a:gd name="T4" fmla="*/ 28 w 35"/>
                <a:gd name="T5" fmla="*/ 24 h 33"/>
                <a:gd name="T6" fmla="*/ 0 w 35"/>
                <a:gd name="T7" fmla="*/ 13 h 33"/>
                <a:gd name="T8" fmla="*/ 16 w 35"/>
                <a:gd name="T9" fmla="*/ 0 h 33"/>
                <a:gd name="T10" fmla="*/ 24 w 35"/>
                <a:gd name="T11" fmla="*/ 10 h 33"/>
                <a:gd name="T12" fmla="*/ 24 w 35"/>
                <a:gd name="T13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3">
                  <a:moveTo>
                    <a:pt x="24" y="10"/>
                  </a:moveTo>
                  <a:cubicBezTo>
                    <a:pt x="28" y="18"/>
                    <a:pt x="31" y="26"/>
                    <a:pt x="35" y="33"/>
                  </a:cubicBezTo>
                  <a:cubicBezTo>
                    <a:pt x="33" y="30"/>
                    <a:pt x="31" y="27"/>
                    <a:pt x="28" y="24"/>
                  </a:cubicBezTo>
                  <a:cubicBezTo>
                    <a:pt x="21" y="18"/>
                    <a:pt x="12" y="14"/>
                    <a:pt x="0" y="13"/>
                  </a:cubicBezTo>
                  <a:cubicBezTo>
                    <a:pt x="6" y="9"/>
                    <a:pt x="12" y="4"/>
                    <a:pt x="16" y="0"/>
                  </a:cubicBezTo>
                  <a:cubicBezTo>
                    <a:pt x="20" y="3"/>
                    <a:pt x="22" y="6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</a:path>
              </a:pathLst>
            </a:custGeom>
            <a:solidFill>
              <a:srgbClr val="814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8" name="任意多边形 277">
              <a:extLst>
                <a:ext uri="{FF2B5EF4-FFF2-40B4-BE49-F238E27FC236}">
                  <a16:creationId xmlns:a16="http://schemas.microsoft.com/office/drawing/2014/main" id="{0F12AC1E-0B06-4697-AC24-DC9C228C9335}"/>
                </a:ext>
              </a:extLst>
            </p:cNvPr>
            <p:cNvSpPr/>
            <p:nvPr/>
          </p:nvSpPr>
          <p:spPr bwMode="auto">
            <a:xfrm>
              <a:off x="5173663" y="5397500"/>
              <a:ext cx="555625" cy="328612"/>
            </a:xfrm>
            <a:custGeom>
              <a:avLst/>
              <a:gdLst>
                <a:gd name="T0" fmla="*/ 27 w 213"/>
                <a:gd name="T1" fmla="*/ 73 h 126"/>
                <a:gd name="T2" fmla="*/ 28 w 213"/>
                <a:gd name="T3" fmla="*/ 80 h 126"/>
                <a:gd name="T4" fmla="*/ 35 w 213"/>
                <a:gd name="T5" fmla="*/ 90 h 126"/>
                <a:gd name="T6" fmla="*/ 35 w 213"/>
                <a:gd name="T7" fmla="*/ 90 h 126"/>
                <a:gd name="T8" fmla="*/ 47 w 213"/>
                <a:gd name="T9" fmla="*/ 99 h 126"/>
                <a:gd name="T10" fmla="*/ 84 w 213"/>
                <a:gd name="T11" fmla="*/ 110 h 126"/>
                <a:gd name="T12" fmla="*/ 128 w 213"/>
                <a:gd name="T13" fmla="*/ 102 h 126"/>
                <a:gd name="T14" fmla="*/ 143 w 213"/>
                <a:gd name="T15" fmla="*/ 116 h 126"/>
                <a:gd name="T16" fmla="*/ 84 w 213"/>
                <a:gd name="T17" fmla="*/ 125 h 126"/>
                <a:gd name="T18" fmla="*/ 31 w 213"/>
                <a:gd name="T19" fmla="*/ 110 h 126"/>
                <a:gd name="T20" fmla="*/ 2 w 213"/>
                <a:gd name="T21" fmla="*/ 81 h 126"/>
                <a:gd name="T22" fmla="*/ 0 w 213"/>
                <a:gd name="T23" fmla="*/ 72 h 126"/>
                <a:gd name="T24" fmla="*/ 8 w 213"/>
                <a:gd name="T25" fmla="*/ 52 h 126"/>
                <a:gd name="T26" fmla="*/ 40 w 213"/>
                <a:gd name="T27" fmla="*/ 24 h 126"/>
                <a:gd name="T28" fmla="*/ 141 w 213"/>
                <a:gd name="T29" fmla="*/ 5 h 126"/>
                <a:gd name="T30" fmla="*/ 186 w 213"/>
                <a:gd name="T31" fmla="*/ 21 h 126"/>
                <a:gd name="T32" fmla="*/ 212 w 213"/>
                <a:gd name="T33" fmla="*/ 49 h 126"/>
                <a:gd name="T34" fmla="*/ 213 w 213"/>
                <a:gd name="T35" fmla="*/ 56 h 126"/>
                <a:gd name="T36" fmla="*/ 213 w 213"/>
                <a:gd name="T37" fmla="*/ 56 h 126"/>
                <a:gd name="T38" fmla="*/ 201 w 213"/>
                <a:gd name="T39" fmla="*/ 80 h 126"/>
                <a:gd name="T40" fmla="*/ 177 w 213"/>
                <a:gd name="T41" fmla="*/ 71 h 126"/>
                <a:gd name="T42" fmla="*/ 177 w 213"/>
                <a:gd name="T43" fmla="*/ 71 h 126"/>
                <a:gd name="T44" fmla="*/ 186 w 213"/>
                <a:gd name="T45" fmla="*/ 53 h 126"/>
                <a:gd name="T46" fmla="*/ 186 w 213"/>
                <a:gd name="T47" fmla="*/ 49 h 126"/>
                <a:gd name="T48" fmla="*/ 168 w 213"/>
                <a:gd name="T49" fmla="*/ 30 h 126"/>
                <a:gd name="T50" fmla="*/ 131 w 213"/>
                <a:gd name="T51" fmla="*/ 19 h 126"/>
                <a:gd name="T52" fmla="*/ 93 w 213"/>
                <a:gd name="T53" fmla="*/ 22 h 126"/>
                <a:gd name="T54" fmla="*/ 60 w 213"/>
                <a:gd name="T55" fmla="*/ 36 h 126"/>
                <a:gd name="T56" fmla="*/ 32 w 213"/>
                <a:gd name="T57" fmla="*/ 58 h 126"/>
                <a:gd name="T58" fmla="*/ 27 w 213"/>
                <a:gd name="T59" fmla="*/ 7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3" h="126">
                  <a:moveTo>
                    <a:pt x="27" y="73"/>
                  </a:moveTo>
                  <a:cubicBezTo>
                    <a:pt x="27" y="75"/>
                    <a:pt x="27" y="78"/>
                    <a:pt x="28" y="80"/>
                  </a:cubicBezTo>
                  <a:cubicBezTo>
                    <a:pt x="30" y="84"/>
                    <a:pt x="32" y="87"/>
                    <a:pt x="35" y="90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38" y="93"/>
                    <a:pt x="42" y="96"/>
                    <a:pt x="47" y="99"/>
                  </a:cubicBezTo>
                  <a:cubicBezTo>
                    <a:pt x="58" y="105"/>
                    <a:pt x="70" y="109"/>
                    <a:pt x="84" y="110"/>
                  </a:cubicBezTo>
                  <a:cubicBezTo>
                    <a:pt x="98" y="110"/>
                    <a:pt x="113" y="108"/>
                    <a:pt x="128" y="102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22" y="123"/>
                    <a:pt x="103" y="126"/>
                    <a:pt x="84" y="125"/>
                  </a:cubicBezTo>
                  <a:cubicBezTo>
                    <a:pt x="64" y="124"/>
                    <a:pt x="47" y="119"/>
                    <a:pt x="31" y="110"/>
                  </a:cubicBezTo>
                  <a:cubicBezTo>
                    <a:pt x="15" y="100"/>
                    <a:pt x="6" y="91"/>
                    <a:pt x="2" y="81"/>
                  </a:cubicBezTo>
                  <a:cubicBezTo>
                    <a:pt x="1" y="78"/>
                    <a:pt x="0" y="75"/>
                    <a:pt x="0" y="72"/>
                  </a:cubicBezTo>
                  <a:cubicBezTo>
                    <a:pt x="0" y="65"/>
                    <a:pt x="3" y="59"/>
                    <a:pt x="8" y="52"/>
                  </a:cubicBezTo>
                  <a:cubicBezTo>
                    <a:pt x="15" y="42"/>
                    <a:pt x="25" y="32"/>
                    <a:pt x="40" y="24"/>
                  </a:cubicBezTo>
                  <a:cubicBezTo>
                    <a:pt x="71" y="6"/>
                    <a:pt x="107" y="0"/>
                    <a:pt x="141" y="5"/>
                  </a:cubicBezTo>
                  <a:cubicBezTo>
                    <a:pt x="157" y="8"/>
                    <a:pt x="172" y="13"/>
                    <a:pt x="186" y="21"/>
                  </a:cubicBezTo>
                  <a:cubicBezTo>
                    <a:pt x="200" y="30"/>
                    <a:pt x="209" y="39"/>
                    <a:pt x="212" y="49"/>
                  </a:cubicBezTo>
                  <a:cubicBezTo>
                    <a:pt x="212" y="51"/>
                    <a:pt x="213" y="53"/>
                    <a:pt x="213" y="56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64"/>
                    <a:pt x="209" y="72"/>
                    <a:pt x="201" y="80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83" y="64"/>
                    <a:pt x="186" y="58"/>
                    <a:pt x="186" y="53"/>
                  </a:cubicBezTo>
                  <a:cubicBezTo>
                    <a:pt x="186" y="51"/>
                    <a:pt x="186" y="50"/>
                    <a:pt x="186" y="49"/>
                  </a:cubicBezTo>
                  <a:cubicBezTo>
                    <a:pt x="184" y="42"/>
                    <a:pt x="178" y="36"/>
                    <a:pt x="168" y="30"/>
                  </a:cubicBezTo>
                  <a:cubicBezTo>
                    <a:pt x="157" y="24"/>
                    <a:pt x="145" y="20"/>
                    <a:pt x="131" y="19"/>
                  </a:cubicBezTo>
                  <a:cubicBezTo>
                    <a:pt x="118" y="17"/>
                    <a:pt x="106" y="19"/>
                    <a:pt x="93" y="22"/>
                  </a:cubicBezTo>
                  <a:cubicBezTo>
                    <a:pt x="81" y="26"/>
                    <a:pt x="70" y="30"/>
                    <a:pt x="60" y="36"/>
                  </a:cubicBezTo>
                  <a:cubicBezTo>
                    <a:pt x="47" y="43"/>
                    <a:pt x="38" y="51"/>
                    <a:pt x="32" y="58"/>
                  </a:cubicBezTo>
                  <a:cubicBezTo>
                    <a:pt x="29" y="63"/>
                    <a:pt x="27" y="68"/>
                    <a:pt x="27" y="73"/>
                  </a:cubicBezTo>
                </a:path>
              </a:pathLst>
            </a:custGeom>
            <a:solidFill>
              <a:srgbClr val="E288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9" name="任意多边形 278">
              <a:extLst>
                <a:ext uri="{FF2B5EF4-FFF2-40B4-BE49-F238E27FC236}">
                  <a16:creationId xmlns:a16="http://schemas.microsoft.com/office/drawing/2014/main" id="{A8C39109-C8B0-4D82-8C79-3CB22BB895E3}"/>
                </a:ext>
              </a:extLst>
            </p:cNvPr>
            <p:cNvSpPr/>
            <p:nvPr/>
          </p:nvSpPr>
          <p:spPr bwMode="auto">
            <a:xfrm>
              <a:off x="5226051" y="4826000"/>
              <a:ext cx="393700" cy="119062"/>
            </a:xfrm>
            <a:custGeom>
              <a:avLst/>
              <a:gdLst>
                <a:gd name="T0" fmla="*/ 140 w 151"/>
                <a:gd name="T1" fmla="*/ 23 h 46"/>
                <a:gd name="T2" fmla="*/ 151 w 151"/>
                <a:gd name="T3" fmla="*/ 46 h 46"/>
                <a:gd name="T4" fmla="*/ 151 w 151"/>
                <a:gd name="T5" fmla="*/ 46 h 46"/>
                <a:gd name="T6" fmla="*/ 146 w 151"/>
                <a:gd name="T7" fmla="*/ 38 h 46"/>
                <a:gd name="T8" fmla="*/ 124 w 151"/>
                <a:gd name="T9" fmla="*/ 26 h 46"/>
                <a:gd name="T10" fmla="*/ 87 w 151"/>
                <a:gd name="T11" fmla="*/ 26 h 46"/>
                <a:gd name="T12" fmla="*/ 10 w 151"/>
                <a:gd name="T13" fmla="*/ 38 h 46"/>
                <a:gd name="T14" fmla="*/ 0 w 151"/>
                <a:gd name="T15" fmla="*/ 15 h 46"/>
                <a:gd name="T16" fmla="*/ 76 w 151"/>
                <a:gd name="T17" fmla="*/ 3 h 46"/>
                <a:gd name="T18" fmla="*/ 113 w 151"/>
                <a:gd name="T19" fmla="*/ 2 h 46"/>
                <a:gd name="T20" fmla="*/ 135 w 151"/>
                <a:gd name="T21" fmla="*/ 15 h 46"/>
                <a:gd name="T22" fmla="*/ 140 w 151"/>
                <a:gd name="T23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1" h="46">
                  <a:moveTo>
                    <a:pt x="140" y="23"/>
                  </a:moveTo>
                  <a:cubicBezTo>
                    <a:pt x="144" y="31"/>
                    <a:pt x="147" y="38"/>
                    <a:pt x="151" y="46"/>
                  </a:cubicBezTo>
                  <a:cubicBezTo>
                    <a:pt x="151" y="46"/>
                    <a:pt x="151" y="46"/>
                    <a:pt x="151" y="46"/>
                  </a:cubicBezTo>
                  <a:cubicBezTo>
                    <a:pt x="150" y="43"/>
                    <a:pt x="148" y="41"/>
                    <a:pt x="146" y="38"/>
                  </a:cubicBezTo>
                  <a:cubicBezTo>
                    <a:pt x="141" y="32"/>
                    <a:pt x="133" y="28"/>
                    <a:pt x="124" y="26"/>
                  </a:cubicBezTo>
                  <a:cubicBezTo>
                    <a:pt x="115" y="24"/>
                    <a:pt x="102" y="24"/>
                    <a:pt x="87" y="26"/>
                  </a:cubicBezTo>
                  <a:cubicBezTo>
                    <a:pt x="61" y="30"/>
                    <a:pt x="36" y="34"/>
                    <a:pt x="10" y="3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5" y="11"/>
                    <a:pt x="50" y="7"/>
                    <a:pt x="76" y="3"/>
                  </a:cubicBezTo>
                  <a:cubicBezTo>
                    <a:pt x="91" y="0"/>
                    <a:pt x="104" y="0"/>
                    <a:pt x="113" y="2"/>
                  </a:cubicBezTo>
                  <a:cubicBezTo>
                    <a:pt x="123" y="4"/>
                    <a:pt x="130" y="9"/>
                    <a:pt x="135" y="15"/>
                  </a:cubicBezTo>
                  <a:cubicBezTo>
                    <a:pt x="137" y="17"/>
                    <a:pt x="139" y="20"/>
                    <a:pt x="140" y="23"/>
                  </a:cubicBezTo>
                </a:path>
              </a:pathLst>
            </a:custGeom>
            <a:solidFill>
              <a:srgbClr val="A68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0" name="任意多边形 279">
              <a:extLst>
                <a:ext uri="{FF2B5EF4-FFF2-40B4-BE49-F238E27FC236}">
                  <a16:creationId xmlns:a16="http://schemas.microsoft.com/office/drawing/2014/main" id="{26104F97-418C-44CE-BEE3-5767D71A3197}"/>
                </a:ext>
              </a:extLst>
            </p:cNvPr>
            <p:cNvSpPr/>
            <p:nvPr/>
          </p:nvSpPr>
          <p:spPr bwMode="auto">
            <a:xfrm>
              <a:off x="5322888" y="5141913"/>
              <a:ext cx="258763" cy="166687"/>
            </a:xfrm>
            <a:custGeom>
              <a:avLst/>
              <a:gdLst>
                <a:gd name="T0" fmla="*/ 99 w 99"/>
                <a:gd name="T1" fmla="*/ 20 h 64"/>
                <a:gd name="T2" fmla="*/ 95 w 99"/>
                <a:gd name="T3" fmla="*/ 35 h 64"/>
                <a:gd name="T4" fmla="*/ 85 w 99"/>
                <a:gd name="T5" fmla="*/ 46 h 64"/>
                <a:gd name="T6" fmla="*/ 69 w 99"/>
                <a:gd name="T7" fmla="*/ 53 h 64"/>
                <a:gd name="T8" fmla="*/ 0 w 99"/>
                <a:gd name="T9" fmla="*/ 64 h 64"/>
                <a:gd name="T10" fmla="*/ 0 w 99"/>
                <a:gd name="T11" fmla="*/ 39 h 64"/>
                <a:gd name="T12" fmla="*/ 58 w 99"/>
                <a:gd name="T13" fmla="*/ 30 h 64"/>
                <a:gd name="T14" fmla="*/ 74 w 99"/>
                <a:gd name="T15" fmla="*/ 22 h 64"/>
                <a:gd name="T16" fmla="*/ 84 w 99"/>
                <a:gd name="T17" fmla="*/ 11 h 64"/>
                <a:gd name="T18" fmla="*/ 88 w 99"/>
                <a:gd name="T19" fmla="*/ 0 h 64"/>
                <a:gd name="T20" fmla="*/ 93 w 99"/>
                <a:gd name="T21" fmla="*/ 4 h 64"/>
                <a:gd name="T22" fmla="*/ 99 w 99"/>
                <a:gd name="T23" fmla="*/ 2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64">
                  <a:moveTo>
                    <a:pt x="99" y="20"/>
                  </a:moveTo>
                  <a:cubicBezTo>
                    <a:pt x="99" y="25"/>
                    <a:pt x="98" y="30"/>
                    <a:pt x="95" y="35"/>
                  </a:cubicBezTo>
                  <a:cubicBezTo>
                    <a:pt x="92" y="39"/>
                    <a:pt x="89" y="43"/>
                    <a:pt x="85" y="46"/>
                  </a:cubicBezTo>
                  <a:cubicBezTo>
                    <a:pt x="81" y="49"/>
                    <a:pt x="75" y="51"/>
                    <a:pt x="69" y="53"/>
                  </a:cubicBezTo>
                  <a:cubicBezTo>
                    <a:pt x="62" y="55"/>
                    <a:pt x="52" y="57"/>
                    <a:pt x="0" y="64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1" y="33"/>
                    <a:pt x="52" y="32"/>
                    <a:pt x="58" y="30"/>
                  </a:cubicBezTo>
                  <a:cubicBezTo>
                    <a:pt x="65" y="28"/>
                    <a:pt x="70" y="25"/>
                    <a:pt x="74" y="22"/>
                  </a:cubicBezTo>
                  <a:cubicBezTo>
                    <a:pt x="78" y="20"/>
                    <a:pt x="81" y="16"/>
                    <a:pt x="84" y="11"/>
                  </a:cubicBezTo>
                  <a:cubicBezTo>
                    <a:pt x="86" y="8"/>
                    <a:pt x="88" y="4"/>
                    <a:pt x="88" y="0"/>
                  </a:cubicBezTo>
                  <a:cubicBezTo>
                    <a:pt x="90" y="1"/>
                    <a:pt x="92" y="2"/>
                    <a:pt x="93" y="4"/>
                  </a:cubicBezTo>
                  <a:cubicBezTo>
                    <a:pt x="97" y="8"/>
                    <a:pt x="99" y="13"/>
                    <a:pt x="99" y="20"/>
                  </a:cubicBezTo>
                </a:path>
              </a:pathLst>
            </a:custGeom>
            <a:solidFill>
              <a:srgbClr val="A68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1" name="任意多边形 280">
              <a:extLst>
                <a:ext uri="{FF2B5EF4-FFF2-40B4-BE49-F238E27FC236}">
                  <a16:creationId xmlns:a16="http://schemas.microsoft.com/office/drawing/2014/main" id="{6E170922-7A37-4C2B-80A9-341630346BBF}"/>
                </a:ext>
              </a:extLst>
            </p:cNvPr>
            <p:cNvSpPr/>
            <p:nvPr/>
          </p:nvSpPr>
          <p:spPr bwMode="auto">
            <a:xfrm>
              <a:off x="5322888" y="4951413"/>
              <a:ext cx="236538" cy="150812"/>
            </a:xfrm>
            <a:custGeom>
              <a:avLst/>
              <a:gdLst>
                <a:gd name="T0" fmla="*/ 86 w 91"/>
                <a:gd name="T1" fmla="*/ 4 h 58"/>
                <a:gd name="T2" fmla="*/ 91 w 91"/>
                <a:gd name="T3" fmla="*/ 19 h 58"/>
                <a:gd name="T4" fmla="*/ 70 w 91"/>
                <a:gd name="T5" fmla="*/ 45 h 58"/>
                <a:gd name="T6" fmla="*/ 44 w 91"/>
                <a:gd name="T7" fmla="*/ 51 h 58"/>
                <a:gd name="T8" fmla="*/ 0 w 91"/>
                <a:gd name="T9" fmla="*/ 58 h 58"/>
                <a:gd name="T10" fmla="*/ 0 w 91"/>
                <a:gd name="T11" fmla="*/ 33 h 58"/>
                <a:gd name="T12" fmla="*/ 33 w 91"/>
                <a:gd name="T13" fmla="*/ 28 h 58"/>
                <a:gd name="T14" fmla="*/ 59 w 91"/>
                <a:gd name="T15" fmla="*/ 22 h 58"/>
                <a:gd name="T16" fmla="*/ 79 w 91"/>
                <a:gd name="T17" fmla="*/ 0 h 58"/>
                <a:gd name="T18" fmla="*/ 86 w 91"/>
                <a:gd name="T19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58">
                  <a:moveTo>
                    <a:pt x="86" y="4"/>
                  </a:moveTo>
                  <a:cubicBezTo>
                    <a:pt x="89" y="8"/>
                    <a:pt x="91" y="13"/>
                    <a:pt x="91" y="19"/>
                  </a:cubicBezTo>
                  <a:cubicBezTo>
                    <a:pt x="91" y="32"/>
                    <a:pt x="82" y="40"/>
                    <a:pt x="70" y="45"/>
                  </a:cubicBezTo>
                  <a:cubicBezTo>
                    <a:pt x="65" y="48"/>
                    <a:pt x="56" y="50"/>
                    <a:pt x="44" y="51"/>
                  </a:cubicBezTo>
                  <a:cubicBezTo>
                    <a:pt x="30" y="54"/>
                    <a:pt x="15" y="56"/>
                    <a:pt x="0" y="5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31"/>
                    <a:pt x="22" y="30"/>
                    <a:pt x="33" y="28"/>
                  </a:cubicBezTo>
                  <a:cubicBezTo>
                    <a:pt x="45" y="26"/>
                    <a:pt x="54" y="24"/>
                    <a:pt x="59" y="22"/>
                  </a:cubicBezTo>
                  <a:cubicBezTo>
                    <a:pt x="69" y="18"/>
                    <a:pt x="78" y="11"/>
                    <a:pt x="79" y="0"/>
                  </a:cubicBezTo>
                  <a:cubicBezTo>
                    <a:pt x="82" y="1"/>
                    <a:pt x="84" y="2"/>
                    <a:pt x="86" y="4"/>
                  </a:cubicBezTo>
                </a:path>
              </a:pathLst>
            </a:custGeom>
            <a:solidFill>
              <a:srgbClr val="A68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2" name="任意多边形 281">
              <a:extLst>
                <a:ext uri="{FF2B5EF4-FFF2-40B4-BE49-F238E27FC236}">
                  <a16:creationId xmlns:a16="http://schemas.microsoft.com/office/drawing/2014/main" id="{66EB3BEA-004C-492B-827D-24CFDB04A81C}"/>
                </a:ext>
              </a:extLst>
            </p:cNvPr>
            <p:cNvSpPr/>
            <p:nvPr/>
          </p:nvSpPr>
          <p:spPr bwMode="auto">
            <a:xfrm>
              <a:off x="5173663" y="5584825"/>
              <a:ext cx="373063" cy="231775"/>
            </a:xfrm>
            <a:custGeom>
              <a:avLst/>
              <a:gdLst>
                <a:gd name="T0" fmla="*/ 0 w 143"/>
                <a:gd name="T1" fmla="*/ 34 h 89"/>
                <a:gd name="T2" fmla="*/ 0 w 143"/>
                <a:gd name="T3" fmla="*/ 34 h 89"/>
                <a:gd name="T4" fmla="*/ 0 w 143"/>
                <a:gd name="T5" fmla="*/ 0 h 89"/>
                <a:gd name="T6" fmla="*/ 2 w 143"/>
                <a:gd name="T7" fmla="*/ 9 h 89"/>
                <a:gd name="T8" fmla="*/ 31 w 143"/>
                <a:gd name="T9" fmla="*/ 38 h 89"/>
                <a:gd name="T10" fmla="*/ 84 w 143"/>
                <a:gd name="T11" fmla="*/ 53 h 89"/>
                <a:gd name="T12" fmla="*/ 143 w 143"/>
                <a:gd name="T13" fmla="*/ 44 h 89"/>
                <a:gd name="T14" fmla="*/ 143 w 143"/>
                <a:gd name="T15" fmla="*/ 79 h 89"/>
                <a:gd name="T16" fmla="*/ 84 w 143"/>
                <a:gd name="T17" fmla="*/ 87 h 89"/>
                <a:gd name="T18" fmla="*/ 31 w 143"/>
                <a:gd name="T19" fmla="*/ 72 h 89"/>
                <a:gd name="T20" fmla="*/ 2 w 143"/>
                <a:gd name="T21" fmla="*/ 44 h 89"/>
                <a:gd name="T22" fmla="*/ 0 w 143"/>
                <a:gd name="T23" fmla="*/ 3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3" h="89">
                  <a:moveTo>
                    <a:pt x="0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0" y="23"/>
                    <a:pt x="0" y="11"/>
                    <a:pt x="0" y="0"/>
                  </a:cubicBezTo>
                  <a:cubicBezTo>
                    <a:pt x="0" y="3"/>
                    <a:pt x="1" y="6"/>
                    <a:pt x="2" y="9"/>
                  </a:cubicBezTo>
                  <a:cubicBezTo>
                    <a:pt x="6" y="19"/>
                    <a:pt x="15" y="28"/>
                    <a:pt x="31" y="38"/>
                  </a:cubicBezTo>
                  <a:cubicBezTo>
                    <a:pt x="47" y="47"/>
                    <a:pt x="64" y="52"/>
                    <a:pt x="84" y="53"/>
                  </a:cubicBezTo>
                  <a:cubicBezTo>
                    <a:pt x="103" y="54"/>
                    <a:pt x="122" y="51"/>
                    <a:pt x="143" y="44"/>
                  </a:cubicBezTo>
                  <a:cubicBezTo>
                    <a:pt x="143" y="79"/>
                    <a:pt x="143" y="79"/>
                    <a:pt x="143" y="79"/>
                  </a:cubicBezTo>
                  <a:cubicBezTo>
                    <a:pt x="122" y="86"/>
                    <a:pt x="103" y="89"/>
                    <a:pt x="84" y="87"/>
                  </a:cubicBezTo>
                  <a:cubicBezTo>
                    <a:pt x="64" y="86"/>
                    <a:pt x="47" y="81"/>
                    <a:pt x="31" y="72"/>
                  </a:cubicBezTo>
                  <a:cubicBezTo>
                    <a:pt x="15" y="63"/>
                    <a:pt x="6" y="53"/>
                    <a:pt x="2" y="44"/>
                  </a:cubicBezTo>
                  <a:cubicBezTo>
                    <a:pt x="1" y="41"/>
                    <a:pt x="0" y="37"/>
                    <a:pt x="0" y="34"/>
                  </a:cubicBezTo>
                </a:path>
              </a:pathLst>
            </a:custGeom>
            <a:solidFill>
              <a:srgbClr val="D244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3" name="任意多边形 282">
              <a:extLst>
                <a:ext uri="{FF2B5EF4-FFF2-40B4-BE49-F238E27FC236}">
                  <a16:creationId xmlns:a16="http://schemas.microsoft.com/office/drawing/2014/main" id="{0A0FF798-6CF7-47B3-B623-B5C633B08611}"/>
                </a:ext>
              </a:extLst>
            </p:cNvPr>
            <p:cNvSpPr/>
            <p:nvPr/>
          </p:nvSpPr>
          <p:spPr bwMode="auto">
            <a:xfrm>
              <a:off x="5226051" y="4864100"/>
              <a:ext cx="26988" cy="509587"/>
            </a:xfrm>
            <a:custGeom>
              <a:avLst/>
              <a:gdLst>
                <a:gd name="T0" fmla="*/ 0 w 17"/>
                <a:gd name="T1" fmla="*/ 73 h 321"/>
                <a:gd name="T2" fmla="*/ 0 w 17"/>
                <a:gd name="T3" fmla="*/ 0 h 321"/>
                <a:gd name="T4" fmla="*/ 17 w 17"/>
                <a:gd name="T5" fmla="*/ 38 h 321"/>
                <a:gd name="T6" fmla="*/ 17 w 17"/>
                <a:gd name="T7" fmla="*/ 321 h 321"/>
                <a:gd name="T8" fmla="*/ 0 w 17"/>
                <a:gd name="T9" fmla="*/ 281 h 321"/>
                <a:gd name="T10" fmla="*/ 0 w 17"/>
                <a:gd name="T11" fmla="*/ 217 h 321"/>
                <a:gd name="T12" fmla="*/ 0 w 17"/>
                <a:gd name="T13" fmla="*/ 7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21">
                  <a:moveTo>
                    <a:pt x="0" y="73"/>
                  </a:moveTo>
                  <a:lnTo>
                    <a:pt x="0" y="0"/>
                  </a:lnTo>
                  <a:lnTo>
                    <a:pt x="17" y="38"/>
                  </a:lnTo>
                  <a:lnTo>
                    <a:pt x="17" y="321"/>
                  </a:lnTo>
                  <a:lnTo>
                    <a:pt x="0" y="281"/>
                  </a:lnTo>
                  <a:lnTo>
                    <a:pt x="0" y="217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BFB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4" name="任意多边形 283">
              <a:extLst>
                <a:ext uri="{FF2B5EF4-FFF2-40B4-BE49-F238E27FC236}">
                  <a16:creationId xmlns:a16="http://schemas.microsoft.com/office/drawing/2014/main" id="{DECD1194-0ED4-4728-802B-0A778453EE4E}"/>
                </a:ext>
              </a:extLst>
            </p:cNvPr>
            <p:cNvSpPr/>
            <p:nvPr/>
          </p:nvSpPr>
          <p:spPr bwMode="auto">
            <a:xfrm>
              <a:off x="5226051" y="4864100"/>
              <a:ext cx="26988" cy="509587"/>
            </a:xfrm>
            <a:custGeom>
              <a:avLst/>
              <a:gdLst>
                <a:gd name="T0" fmla="*/ 0 w 17"/>
                <a:gd name="T1" fmla="*/ 73 h 321"/>
                <a:gd name="T2" fmla="*/ 0 w 17"/>
                <a:gd name="T3" fmla="*/ 0 h 321"/>
                <a:gd name="T4" fmla="*/ 17 w 17"/>
                <a:gd name="T5" fmla="*/ 38 h 321"/>
                <a:gd name="T6" fmla="*/ 17 w 17"/>
                <a:gd name="T7" fmla="*/ 321 h 321"/>
                <a:gd name="T8" fmla="*/ 0 w 17"/>
                <a:gd name="T9" fmla="*/ 281 h 321"/>
                <a:gd name="T10" fmla="*/ 0 w 17"/>
                <a:gd name="T11" fmla="*/ 217 h 321"/>
                <a:gd name="T12" fmla="*/ 0 w 17"/>
                <a:gd name="T13" fmla="*/ 7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21">
                  <a:moveTo>
                    <a:pt x="0" y="73"/>
                  </a:moveTo>
                  <a:lnTo>
                    <a:pt x="0" y="0"/>
                  </a:lnTo>
                  <a:lnTo>
                    <a:pt x="17" y="38"/>
                  </a:lnTo>
                  <a:lnTo>
                    <a:pt x="17" y="321"/>
                  </a:lnTo>
                  <a:lnTo>
                    <a:pt x="0" y="281"/>
                  </a:lnTo>
                  <a:lnTo>
                    <a:pt x="0" y="217"/>
                  </a:lnTo>
                  <a:lnTo>
                    <a:pt x="0" y="7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5" name="任意多边形 284">
              <a:extLst>
                <a:ext uri="{FF2B5EF4-FFF2-40B4-BE49-F238E27FC236}">
                  <a16:creationId xmlns:a16="http://schemas.microsoft.com/office/drawing/2014/main" id="{47351214-3A98-4913-B961-75C2DDD2F70B}"/>
                </a:ext>
              </a:extLst>
            </p:cNvPr>
            <p:cNvSpPr/>
            <p:nvPr/>
          </p:nvSpPr>
          <p:spPr bwMode="auto">
            <a:xfrm>
              <a:off x="5046663" y="4637088"/>
              <a:ext cx="179388" cy="584200"/>
            </a:xfrm>
            <a:custGeom>
              <a:avLst/>
              <a:gdLst>
                <a:gd name="T0" fmla="*/ 113 w 113"/>
                <a:gd name="T1" fmla="*/ 216 h 368"/>
                <a:gd name="T2" fmla="*/ 113 w 113"/>
                <a:gd name="T3" fmla="*/ 360 h 368"/>
                <a:gd name="T4" fmla="*/ 100 w 113"/>
                <a:gd name="T5" fmla="*/ 368 h 368"/>
                <a:gd name="T6" fmla="*/ 0 w 113"/>
                <a:gd name="T7" fmla="*/ 28 h 368"/>
                <a:gd name="T8" fmla="*/ 49 w 113"/>
                <a:gd name="T9" fmla="*/ 0 h 368"/>
                <a:gd name="T10" fmla="*/ 113 w 113"/>
                <a:gd name="T11" fmla="*/ 216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368">
                  <a:moveTo>
                    <a:pt x="113" y="216"/>
                  </a:moveTo>
                  <a:lnTo>
                    <a:pt x="113" y="360"/>
                  </a:lnTo>
                  <a:lnTo>
                    <a:pt x="100" y="368"/>
                  </a:lnTo>
                  <a:lnTo>
                    <a:pt x="0" y="28"/>
                  </a:lnTo>
                  <a:lnTo>
                    <a:pt x="49" y="0"/>
                  </a:lnTo>
                  <a:lnTo>
                    <a:pt x="113" y="216"/>
                  </a:lnTo>
                  <a:close/>
                </a:path>
              </a:pathLst>
            </a:custGeom>
            <a:solidFill>
              <a:srgbClr val="AA22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6" name="任意多边形 285">
              <a:extLst>
                <a:ext uri="{FF2B5EF4-FFF2-40B4-BE49-F238E27FC236}">
                  <a16:creationId xmlns:a16="http://schemas.microsoft.com/office/drawing/2014/main" id="{2C1DDB78-C142-4A61-B47D-7D8EB3473237}"/>
                </a:ext>
              </a:extLst>
            </p:cNvPr>
            <p:cNvSpPr/>
            <p:nvPr/>
          </p:nvSpPr>
          <p:spPr bwMode="auto">
            <a:xfrm>
              <a:off x="5046663" y="4637088"/>
              <a:ext cx="179388" cy="584200"/>
            </a:xfrm>
            <a:custGeom>
              <a:avLst/>
              <a:gdLst>
                <a:gd name="T0" fmla="*/ 113 w 113"/>
                <a:gd name="T1" fmla="*/ 216 h 368"/>
                <a:gd name="T2" fmla="*/ 113 w 113"/>
                <a:gd name="T3" fmla="*/ 360 h 368"/>
                <a:gd name="T4" fmla="*/ 100 w 113"/>
                <a:gd name="T5" fmla="*/ 368 h 368"/>
                <a:gd name="T6" fmla="*/ 0 w 113"/>
                <a:gd name="T7" fmla="*/ 28 h 368"/>
                <a:gd name="T8" fmla="*/ 49 w 113"/>
                <a:gd name="T9" fmla="*/ 0 h 368"/>
                <a:gd name="T10" fmla="*/ 113 w 113"/>
                <a:gd name="T11" fmla="*/ 216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" h="368">
                  <a:moveTo>
                    <a:pt x="113" y="216"/>
                  </a:moveTo>
                  <a:lnTo>
                    <a:pt x="113" y="360"/>
                  </a:lnTo>
                  <a:lnTo>
                    <a:pt x="100" y="368"/>
                  </a:lnTo>
                  <a:lnTo>
                    <a:pt x="0" y="28"/>
                  </a:lnTo>
                  <a:lnTo>
                    <a:pt x="49" y="0"/>
                  </a:lnTo>
                  <a:lnTo>
                    <a:pt x="113" y="2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7" name="任意多边形 286">
              <a:extLst>
                <a:ext uri="{FF2B5EF4-FFF2-40B4-BE49-F238E27FC236}">
                  <a16:creationId xmlns:a16="http://schemas.microsoft.com/office/drawing/2014/main" id="{B45F7381-C20B-4CC7-8E66-079F3F3DAD0A}"/>
                </a:ext>
              </a:extLst>
            </p:cNvPr>
            <p:cNvSpPr/>
            <p:nvPr/>
          </p:nvSpPr>
          <p:spPr bwMode="auto">
            <a:xfrm>
              <a:off x="4843463" y="4651375"/>
              <a:ext cx="361950" cy="569912"/>
            </a:xfrm>
            <a:custGeom>
              <a:avLst/>
              <a:gdLst>
                <a:gd name="T0" fmla="*/ 82 w 139"/>
                <a:gd name="T1" fmla="*/ 81 h 219"/>
                <a:gd name="T2" fmla="*/ 77 w 139"/>
                <a:gd name="T3" fmla="*/ 64 h 219"/>
                <a:gd name="T4" fmla="*/ 67 w 139"/>
                <a:gd name="T5" fmla="*/ 24 h 219"/>
                <a:gd name="T6" fmla="*/ 59 w 139"/>
                <a:gd name="T7" fmla="*/ 52 h 219"/>
                <a:gd name="T8" fmla="*/ 43 w 139"/>
                <a:gd name="T9" fmla="*/ 93 h 219"/>
                <a:gd name="T10" fmla="*/ 93 w 139"/>
                <a:gd name="T11" fmla="*/ 122 h 219"/>
                <a:gd name="T12" fmla="*/ 82 w 139"/>
                <a:gd name="T13" fmla="*/ 81 h 219"/>
                <a:gd name="T14" fmla="*/ 78 w 139"/>
                <a:gd name="T15" fmla="*/ 12 h 219"/>
                <a:gd name="T16" fmla="*/ 139 w 139"/>
                <a:gd name="T17" fmla="*/ 219 h 219"/>
                <a:gd name="T18" fmla="*/ 117 w 139"/>
                <a:gd name="T19" fmla="*/ 206 h 219"/>
                <a:gd name="T20" fmla="*/ 99 w 139"/>
                <a:gd name="T21" fmla="*/ 144 h 219"/>
                <a:gd name="T22" fmla="*/ 56 w 139"/>
                <a:gd name="T23" fmla="*/ 119 h 219"/>
                <a:gd name="T24" fmla="*/ 37 w 139"/>
                <a:gd name="T25" fmla="*/ 108 h 219"/>
                <a:gd name="T26" fmla="*/ 21 w 139"/>
                <a:gd name="T27" fmla="*/ 150 h 219"/>
                <a:gd name="T28" fmla="*/ 0 w 139"/>
                <a:gd name="T29" fmla="*/ 138 h 219"/>
                <a:gd name="T30" fmla="*/ 57 w 139"/>
                <a:gd name="T31" fmla="*/ 0 h 219"/>
                <a:gd name="T32" fmla="*/ 78 w 139"/>
                <a:gd name="T33" fmla="*/ 12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219">
                  <a:moveTo>
                    <a:pt x="82" y="81"/>
                  </a:moveTo>
                  <a:cubicBezTo>
                    <a:pt x="80" y="75"/>
                    <a:pt x="79" y="69"/>
                    <a:pt x="77" y="64"/>
                  </a:cubicBezTo>
                  <a:cubicBezTo>
                    <a:pt x="73" y="47"/>
                    <a:pt x="70" y="34"/>
                    <a:pt x="67" y="24"/>
                  </a:cubicBezTo>
                  <a:cubicBezTo>
                    <a:pt x="65" y="33"/>
                    <a:pt x="63" y="43"/>
                    <a:pt x="59" y="52"/>
                  </a:cubicBezTo>
                  <a:cubicBezTo>
                    <a:pt x="54" y="65"/>
                    <a:pt x="48" y="79"/>
                    <a:pt x="43" y="93"/>
                  </a:cubicBezTo>
                  <a:cubicBezTo>
                    <a:pt x="93" y="122"/>
                    <a:pt x="93" y="122"/>
                    <a:pt x="93" y="122"/>
                  </a:cubicBezTo>
                  <a:cubicBezTo>
                    <a:pt x="89" y="106"/>
                    <a:pt x="85" y="92"/>
                    <a:pt x="82" y="81"/>
                  </a:cubicBezTo>
                  <a:moveTo>
                    <a:pt x="78" y="12"/>
                  </a:moveTo>
                  <a:cubicBezTo>
                    <a:pt x="139" y="219"/>
                    <a:pt x="139" y="219"/>
                    <a:pt x="139" y="219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99" y="144"/>
                    <a:pt x="99" y="144"/>
                    <a:pt x="99" y="144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8" y="12"/>
                    <a:pt x="78" y="12"/>
                    <a:pt x="78" y="12"/>
                  </a:cubicBezTo>
                </a:path>
              </a:pathLst>
            </a:custGeom>
            <a:solidFill>
              <a:srgbClr val="D244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8" name="任意多边形 287">
              <a:extLst>
                <a:ext uri="{FF2B5EF4-FFF2-40B4-BE49-F238E27FC236}">
                  <a16:creationId xmlns:a16="http://schemas.microsoft.com/office/drawing/2014/main" id="{D621A521-B38B-4E3C-BFB0-CC0CB5C831BF}"/>
                </a:ext>
              </a:extLst>
            </p:cNvPr>
            <p:cNvSpPr/>
            <p:nvPr/>
          </p:nvSpPr>
          <p:spPr bwMode="auto">
            <a:xfrm>
              <a:off x="4991101" y="4603750"/>
              <a:ext cx="133350" cy="77787"/>
            </a:xfrm>
            <a:custGeom>
              <a:avLst/>
              <a:gdLst>
                <a:gd name="T0" fmla="*/ 84 w 84"/>
                <a:gd name="T1" fmla="*/ 21 h 49"/>
                <a:gd name="T2" fmla="*/ 35 w 84"/>
                <a:gd name="T3" fmla="*/ 49 h 49"/>
                <a:gd name="T4" fmla="*/ 0 w 84"/>
                <a:gd name="T5" fmla="*/ 30 h 49"/>
                <a:gd name="T6" fmla="*/ 50 w 84"/>
                <a:gd name="T7" fmla="*/ 0 h 49"/>
                <a:gd name="T8" fmla="*/ 84 w 84"/>
                <a:gd name="T9" fmla="*/ 2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49">
                  <a:moveTo>
                    <a:pt x="84" y="21"/>
                  </a:moveTo>
                  <a:lnTo>
                    <a:pt x="35" y="49"/>
                  </a:lnTo>
                  <a:lnTo>
                    <a:pt x="0" y="30"/>
                  </a:lnTo>
                  <a:lnTo>
                    <a:pt x="50" y="0"/>
                  </a:lnTo>
                  <a:lnTo>
                    <a:pt x="84" y="21"/>
                  </a:lnTo>
                  <a:close/>
                </a:path>
              </a:pathLst>
            </a:custGeom>
            <a:solidFill>
              <a:srgbClr val="E288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9" name="任意多边形 288">
              <a:extLst>
                <a:ext uri="{FF2B5EF4-FFF2-40B4-BE49-F238E27FC236}">
                  <a16:creationId xmlns:a16="http://schemas.microsoft.com/office/drawing/2014/main" id="{0F89B129-242E-4CD2-8998-098D2FC02F7F}"/>
                </a:ext>
              </a:extLst>
            </p:cNvPr>
            <p:cNvSpPr/>
            <p:nvPr/>
          </p:nvSpPr>
          <p:spPr bwMode="auto">
            <a:xfrm>
              <a:off x="4991101" y="4603750"/>
              <a:ext cx="133350" cy="77787"/>
            </a:xfrm>
            <a:custGeom>
              <a:avLst/>
              <a:gdLst>
                <a:gd name="T0" fmla="*/ 84 w 84"/>
                <a:gd name="T1" fmla="*/ 21 h 49"/>
                <a:gd name="T2" fmla="*/ 35 w 84"/>
                <a:gd name="T3" fmla="*/ 49 h 49"/>
                <a:gd name="T4" fmla="*/ 0 w 84"/>
                <a:gd name="T5" fmla="*/ 30 h 49"/>
                <a:gd name="T6" fmla="*/ 50 w 84"/>
                <a:gd name="T7" fmla="*/ 0 h 49"/>
                <a:gd name="T8" fmla="*/ 84 w 84"/>
                <a:gd name="T9" fmla="*/ 2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49">
                  <a:moveTo>
                    <a:pt x="84" y="21"/>
                  </a:moveTo>
                  <a:lnTo>
                    <a:pt x="35" y="49"/>
                  </a:lnTo>
                  <a:lnTo>
                    <a:pt x="0" y="30"/>
                  </a:lnTo>
                  <a:lnTo>
                    <a:pt x="50" y="0"/>
                  </a:lnTo>
                  <a:lnTo>
                    <a:pt x="84" y="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0" name="任意多边形 289">
              <a:extLst>
                <a:ext uri="{FF2B5EF4-FFF2-40B4-BE49-F238E27FC236}">
                  <a16:creationId xmlns:a16="http://schemas.microsoft.com/office/drawing/2014/main" id="{6B90109A-C3BE-4893-9015-FD77B6EB5CD5}"/>
                </a:ext>
              </a:extLst>
            </p:cNvPr>
            <p:cNvSpPr/>
            <p:nvPr/>
          </p:nvSpPr>
          <p:spPr bwMode="auto">
            <a:xfrm>
              <a:off x="4954588" y="4846638"/>
              <a:ext cx="130175" cy="122237"/>
            </a:xfrm>
            <a:custGeom>
              <a:avLst/>
              <a:gdLst>
                <a:gd name="T0" fmla="*/ 50 w 50"/>
                <a:gd name="T1" fmla="*/ 47 h 47"/>
                <a:gd name="T2" fmla="*/ 0 w 50"/>
                <a:gd name="T3" fmla="*/ 18 h 47"/>
                <a:gd name="T4" fmla="*/ 30 w 50"/>
                <a:gd name="T5" fmla="*/ 0 h 47"/>
                <a:gd name="T6" fmla="*/ 39 w 50"/>
                <a:gd name="T7" fmla="*/ 6 h 47"/>
                <a:gd name="T8" fmla="*/ 50 w 50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7">
                  <a:moveTo>
                    <a:pt x="50" y="47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2" y="17"/>
                    <a:pt x="46" y="31"/>
                    <a:pt x="50" y="47"/>
                  </a:cubicBezTo>
                </a:path>
              </a:pathLst>
            </a:custGeom>
            <a:solidFill>
              <a:srgbClr val="E288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1" name="任意多边形 290">
              <a:extLst>
                <a:ext uri="{FF2B5EF4-FFF2-40B4-BE49-F238E27FC236}">
                  <a16:creationId xmlns:a16="http://schemas.microsoft.com/office/drawing/2014/main" id="{42A2A360-8BFB-4695-9152-921D8302C624}"/>
                </a:ext>
              </a:extLst>
            </p:cNvPr>
            <p:cNvSpPr/>
            <p:nvPr/>
          </p:nvSpPr>
          <p:spPr bwMode="auto">
            <a:xfrm>
              <a:off x="4954588" y="4713288"/>
              <a:ext cx="88900" cy="179387"/>
            </a:xfrm>
            <a:custGeom>
              <a:avLst/>
              <a:gdLst>
                <a:gd name="T0" fmla="*/ 24 w 34"/>
                <a:gd name="T1" fmla="*/ 0 h 69"/>
                <a:gd name="T2" fmla="*/ 34 w 34"/>
                <a:gd name="T3" fmla="*/ 40 h 69"/>
                <a:gd name="T4" fmla="*/ 30 w 34"/>
                <a:gd name="T5" fmla="*/ 51 h 69"/>
                <a:gd name="T6" fmla="*/ 0 w 34"/>
                <a:gd name="T7" fmla="*/ 69 h 69"/>
                <a:gd name="T8" fmla="*/ 16 w 34"/>
                <a:gd name="T9" fmla="*/ 28 h 69"/>
                <a:gd name="T10" fmla="*/ 24 w 34"/>
                <a:gd name="T1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69">
                  <a:moveTo>
                    <a:pt x="24" y="0"/>
                  </a:moveTo>
                  <a:cubicBezTo>
                    <a:pt x="27" y="10"/>
                    <a:pt x="30" y="23"/>
                    <a:pt x="34" y="40"/>
                  </a:cubicBezTo>
                  <a:cubicBezTo>
                    <a:pt x="33" y="44"/>
                    <a:pt x="31" y="48"/>
                    <a:pt x="30" y="51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5" y="55"/>
                    <a:pt x="11" y="41"/>
                    <a:pt x="16" y="28"/>
                  </a:cubicBezTo>
                  <a:cubicBezTo>
                    <a:pt x="20" y="19"/>
                    <a:pt x="22" y="9"/>
                    <a:pt x="24" y="0"/>
                  </a:cubicBezTo>
                </a:path>
              </a:pathLst>
            </a:custGeom>
            <a:solidFill>
              <a:srgbClr val="AA22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2" name="任意多边形 291">
              <a:extLst>
                <a:ext uri="{FF2B5EF4-FFF2-40B4-BE49-F238E27FC236}">
                  <a16:creationId xmlns:a16="http://schemas.microsoft.com/office/drawing/2014/main" id="{2AC655FA-D33A-4DD8-A5F7-6B44D88B32BD}"/>
                </a:ext>
              </a:extLst>
            </p:cNvPr>
            <p:cNvSpPr/>
            <p:nvPr/>
          </p:nvSpPr>
          <p:spPr bwMode="auto">
            <a:xfrm>
              <a:off x="4897438" y="4932363"/>
              <a:ext cx="92075" cy="109537"/>
            </a:xfrm>
            <a:custGeom>
              <a:avLst/>
              <a:gdLst>
                <a:gd name="T0" fmla="*/ 58 w 58"/>
                <a:gd name="T1" fmla="*/ 18 h 69"/>
                <a:gd name="T2" fmla="*/ 49 w 58"/>
                <a:gd name="T3" fmla="*/ 41 h 69"/>
                <a:gd name="T4" fmla="*/ 0 w 58"/>
                <a:gd name="T5" fmla="*/ 69 h 69"/>
                <a:gd name="T6" fmla="*/ 26 w 58"/>
                <a:gd name="T7" fmla="*/ 0 h 69"/>
                <a:gd name="T8" fmla="*/ 58 w 58"/>
                <a:gd name="T9" fmla="*/ 1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9">
                  <a:moveTo>
                    <a:pt x="58" y="18"/>
                  </a:moveTo>
                  <a:lnTo>
                    <a:pt x="49" y="41"/>
                  </a:lnTo>
                  <a:lnTo>
                    <a:pt x="0" y="69"/>
                  </a:lnTo>
                  <a:lnTo>
                    <a:pt x="26" y="0"/>
                  </a:lnTo>
                  <a:lnTo>
                    <a:pt x="58" y="18"/>
                  </a:lnTo>
                  <a:close/>
                </a:path>
              </a:pathLst>
            </a:custGeom>
            <a:solidFill>
              <a:srgbClr val="AA22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3" name="任意多边形 292">
              <a:extLst>
                <a:ext uri="{FF2B5EF4-FFF2-40B4-BE49-F238E27FC236}">
                  <a16:creationId xmlns:a16="http://schemas.microsoft.com/office/drawing/2014/main" id="{347CB3CF-772D-44FC-A068-FE931ED9FE18}"/>
                </a:ext>
              </a:extLst>
            </p:cNvPr>
            <p:cNvSpPr/>
            <p:nvPr/>
          </p:nvSpPr>
          <p:spPr bwMode="auto">
            <a:xfrm>
              <a:off x="4897438" y="4932363"/>
              <a:ext cx="92075" cy="109537"/>
            </a:xfrm>
            <a:custGeom>
              <a:avLst/>
              <a:gdLst>
                <a:gd name="T0" fmla="*/ 58 w 58"/>
                <a:gd name="T1" fmla="*/ 18 h 69"/>
                <a:gd name="T2" fmla="*/ 49 w 58"/>
                <a:gd name="T3" fmla="*/ 41 h 69"/>
                <a:gd name="T4" fmla="*/ 0 w 58"/>
                <a:gd name="T5" fmla="*/ 69 h 69"/>
                <a:gd name="T6" fmla="*/ 26 w 58"/>
                <a:gd name="T7" fmla="*/ 0 h 69"/>
                <a:gd name="T8" fmla="*/ 58 w 58"/>
                <a:gd name="T9" fmla="*/ 1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9">
                  <a:moveTo>
                    <a:pt x="58" y="18"/>
                  </a:moveTo>
                  <a:lnTo>
                    <a:pt x="49" y="41"/>
                  </a:lnTo>
                  <a:lnTo>
                    <a:pt x="0" y="69"/>
                  </a:lnTo>
                  <a:lnTo>
                    <a:pt x="26" y="0"/>
                  </a:lnTo>
                  <a:lnTo>
                    <a:pt x="58" y="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4" name="任意多边形 293">
              <a:extLst>
                <a:ext uri="{FF2B5EF4-FFF2-40B4-BE49-F238E27FC236}">
                  <a16:creationId xmlns:a16="http://schemas.microsoft.com/office/drawing/2014/main" id="{10802141-061D-4E03-A76D-5DDF740E62B7}"/>
                </a:ext>
              </a:extLst>
            </p:cNvPr>
            <p:cNvSpPr/>
            <p:nvPr/>
          </p:nvSpPr>
          <p:spPr bwMode="auto">
            <a:xfrm>
              <a:off x="5453063" y="4887913"/>
              <a:ext cx="96838" cy="4762"/>
            </a:xfrm>
            <a:custGeom>
              <a:avLst/>
              <a:gdLst>
                <a:gd name="T0" fmla="*/ 1 w 37"/>
                <a:gd name="T1" fmla="*/ 2 h 2"/>
                <a:gd name="T2" fmla="*/ 0 w 37"/>
                <a:gd name="T3" fmla="*/ 2 h 2"/>
                <a:gd name="T4" fmla="*/ 1 w 37"/>
                <a:gd name="T5" fmla="*/ 2 h 2"/>
                <a:gd name="T6" fmla="*/ 1 w 37"/>
                <a:gd name="T7" fmla="*/ 2 h 2"/>
                <a:gd name="T8" fmla="*/ 1 w 37"/>
                <a:gd name="T9" fmla="*/ 2 h 2"/>
                <a:gd name="T10" fmla="*/ 1 w 37"/>
                <a:gd name="T11" fmla="*/ 2 h 2"/>
                <a:gd name="T12" fmla="*/ 37 w 37"/>
                <a:gd name="T13" fmla="*/ 2 h 2"/>
                <a:gd name="T14" fmla="*/ 37 w 37"/>
                <a:gd name="T15" fmla="*/ 2 h 2"/>
                <a:gd name="T16" fmla="*/ 37 w 37"/>
                <a:gd name="T17" fmla="*/ 2 h 2"/>
                <a:gd name="T18" fmla="*/ 36 w 37"/>
                <a:gd name="T19" fmla="*/ 2 h 2"/>
                <a:gd name="T20" fmla="*/ 37 w 37"/>
                <a:gd name="T21" fmla="*/ 2 h 2"/>
                <a:gd name="T22" fmla="*/ 36 w 37"/>
                <a:gd name="T23" fmla="*/ 2 h 2"/>
                <a:gd name="T24" fmla="*/ 22 w 37"/>
                <a:gd name="T25" fmla="*/ 0 h 2"/>
                <a:gd name="T26" fmla="*/ 1 w 37"/>
                <a:gd name="T27" fmla="*/ 2 h 2"/>
                <a:gd name="T28" fmla="*/ 22 w 37"/>
                <a:gd name="T29" fmla="*/ 0 h 2"/>
                <a:gd name="T30" fmla="*/ 22 w 37"/>
                <a:gd name="T31" fmla="*/ 0 h 2"/>
                <a:gd name="T32" fmla="*/ 22 w 37"/>
                <a:gd name="T33" fmla="*/ 0 h 2"/>
                <a:gd name="T34" fmla="*/ 22 w 37"/>
                <a:gd name="T35" fmla="*/ 0 h 2"/>
                <a:gd name="T36" fmla="*/ 22 w 37"/>
                <a:gd name="T3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" h="2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moveTo>
                    <a:pt x="37" y="2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moveTo>
                    <a:pt x="36" y="2"/>
                  </a:moveTo>
                  <a:cubicBezTo>
                    <a:pt x="36" y="2"/>
                    <a:pt x="36" y="2"/>
                    <a:pt x="37" y="2"/>
                  </a:cubicBezTo>
                  <a:cubicBezTo>
                    <a:pt x="36" y="2"/>
                    <a:pt x="36" y="2"/>
                    <a:pt x="36" y="2"/>
                  </a:cubicBezTo>
                  <a:moveTo>
                    <a:pt x="22" y="0"/>
                  </a:moveTo>
                  <a:cubicBezTo>
                    <a:pt x="16" y="0"/>
                    <a:pt x="9" y="1"/>
                    <a:pt x="1" y="2"/>
                  </a:cubicBezTo>
                  <a:cubicBezTo>
                    <a:pt x="9" y="1"/>
                    <a:pt x="16" y="0"/>
                    <a:pt x="22" y="0"/>
                  </a:cubicBezTo>
                  <a:moveTo>
                    <a:pt x="2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5" name="任意多边形 294">
              <a:extLst>
                <a:ext uri="{FF2B5EF4-FFF2-40B4-BE49-F238E27FC236}">
                  <a16:creationId xmlns:a16="http://schemas.microsoft.com/office/drawing/2014/main" id="{41F1C53F-E67B-49B3-82CA-2B0FF7E87B8B}"/>
                </a:ext>
              </a:extLst>
            </p:cNvPr>
            <p:cNvSpPr/>
            <p:nvPr/>
          </p:nvSpPr>
          <p:spPr bwMode="auto">
            <a:xfrm>
              <a:off x="5607051" y="4927600"/>
              <a:ext cx="17463" cy="33337"/>
            </a:xfrm>
            <a:custGeom>
              <a:avLst/>
              <a:gdLst>
                <a:gd name="T0" fmla="*/ 0 w 7"/>
                <a:gd name="T1" fmla="*/ 0 h 13"/>
                <a:gd name="T2" fmla="*/ 5 w 7"/>
                <a:gd name="T3" fmla="*/ 7 h 13"/>
                <a:gd name="T4" fmla="*/ 7 w 7"/>
                <a:gd name="T5" fmla="*/ 13 h 13"/>
                <a:gd name="T6" fmla="*/ 4 w 7"/>
                <a:gd name="T7" fmla="*/ 5 h 13"/>
                <a:gd name="T8" fmla="*/ 5 w 7"/>
                <a:gd name="T9" fmla="*/ 7 h 13"/>
                <a:gd name="T10" fmla="*/ 5 w 7"/>
                <a:gd name="T11" fmla="*/ 7 h 13"/>
                <a:gd name="T12" fmla="*/ 0 w 7"/>
                <a:gd name="T13" fmla="*/ 0 h 13"/>
                <a:gd name="T14" fmla="*/ 0 w 7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cubicBezTo>
                    <a:pt x="2" y="2"/>
                    <a:pt x="4" y="5"/>
                    <a:pt x="5" y="7"/>
                  </a:cubicBezTo>
                  <a:cubicBezTo>
                    <a:pt x="6" y="9"/>
                    <a:pt x="7" y="11"/>
                    <a:pt x="7" y="13"/>
                  </a:cubicBezTo>
                  <a:cubicBezTo>
                    <a:pt x="6" y="10"/>
                    <a:pt x="5" y="8"/>
                    <a:pt x="4" y="5"/>
                  </a:cubicBezTo>
                  <a:cubicBezTo>
                    <a:pt x="4" y="6"/>
                    <a:pt x="5" y="6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5"/>
                    <a:pt x="2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6" name="任意多边形 295">
              <a:extLst>
                <a:ext uri="{FF2B5EF4-FFF2-40B4-BE49-F238E27FC236}">
                  <a16:creationId xmlns:a16="http://schemas.microsoft.com/office/drawing/2014/main" id="{3B878E69-662E-41D9-84D3-C2513F1E2B86}"/>
                </a:ext>
              </a:extLst>
            </p:cNvPr>
            <p:cNvSpPr/>
            <p:nvPr/>
          </p:nvSpPr>
          <p:spPr bwMode="auto">
            <a:xfrm>
              <a:off x="5500688" y="4943475"/>
              <a:ext cx="123825" cy="66675"/>
            </a:xfrm>
            <a:custGeom>
              <a:avLst/>
              <a:gdLst>
                <a:gd name="T0" fmla="*/ 48 w 48"/>
                <a:gd name="T1" fmla="*/ 25 h 26"/>
                <a:gd name="T2" fmla="*/ 48 w 48"/>
                <a:gd name="T3" fmla="*/ 25 h 26"/>
                <a:gd name="T4" fmla="*/ 47 w 48"/>
                <a:gd name="T5" fmla="*/ 26 h 26"/>
                <a:gd name="T6" fmla="*/ 48 w 48"/>
                <a:gd name="T7" fmla="*/ 25 h 26"/>
                <a:gd name="T8" fmla="*/ 11 w 48"/>
                <a:gd name="T9" fmla="*/ 2 h 26"/>
                <a:gd name="T10" fmla="*/ 11 w 48"/>
                <a:gd name="T11" fmla="*/ 3 h 26"/>
                <a:gd name="T12" fmla="*/ 11 w 48"/>
                <a:gd name="T13" fmla="*/ 3 h 26"/>
                <a:gd name="T14" fmla="*/ 11 w 48"/>
                <a:gd name="T15" fmla="*/ 2 h 26"/>
                <a:gd name="T16" fmla="*/ 0 w 48"/>
                <a:gd name="T17" fmla="*/ 0 h 26"/>
                <a:gd name="T18" fmla="*/ 1 w 48"/>
                <a:gd name="T19" fmla="*/ 0 h 26"/>
                <a:gd name="T20" fmla="*/ 0 w 48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26"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7" y="25"/>
                    <a:pt x="47" y="26"/>
                  </a:cubicBezTo>
                  <a:cubicBezTo>
                    <a:pt x="47" y="25"/>
                    <a:pt x="48" y="25"/>
                    <a:pt x="48" y="25"/>
                  </a:cubicBezTo>
                  <a:moveTo>
                    <a:pt x="11" y="2"/>
                  </a:moveTo>
                  <a:cubicBezTo>
                    <a:pt x="11" y="2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7" name="任意多边形 296">
              <a:extLst>
                <a:ext uri="{FF2B5EF4-FFF2-40B4-BE49-F238E27FC236}">
                  <a16:creationId xmlns:a16="http://schemas.microsoft.com/office/drawing/2014/main" id="{A9634CE3-A951-490C-A0D8-CA8C180AFEC7}"/>
                </a:ext>
              </a:extLst>
            </p:cNvPr>
            <p:cNvSpPr/>
            <p:nvPr/>
          </p:nvSpPr>
          <p:spPr bwMode="auto">
            <a:xfrm>
              <a:off x="5624513" y="4979988"/>
              <a:ext cx="3175" cy="28575"/>
            </a:xfrm>
            <a:custGeom>
              <a:avLst/>
              <a:gdLst>
                <a:gd name="T0" fmla="*/ 1 w 1"/>
                <a:gd name="T1" fmla="*/ 0 h 11"/>
                <a:gd name="T2" fmla="*/ 0 w 1"/>
                <a:gd name="T3" fmla="*/ 11 h 11"/>
                <a:gd name="T4" fmla="*/ 0 w 1"/>
                <a:gd name="T5" fmla="*/ 11 h 11"/>
                <a:gd name="T6" fmla="*/ 1 w 1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1">
                  <a:moveTo>
                    <a:pt x="1" y="0"/>
                  </a:moveTo>
                  <a:cubicBezTo>
                    <a:pt x="1" y="4"/>
                    <a:pt x="1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7"/>
                    <a:pt x="1" y="4"/>
                    <a:pt x="1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8" name="任意多边形 297">
              <a:extLst>
                <a:ext uri="{FF2B5EF4-FFF2-40B4-BE49-F238E27FC236}">
                  <a16:creationId xmlns:a16="http://schemas.microsoft.com/office/drawing/2014/main" id="{19665DC4-DF6C-4FD6-8922-A997F6FBAFB7}"/>
                </a:ext>
              </a:extLst>
            </p:cNvPr>
            <p:cNvSpPr/>
            <p:nvPr/>
          </p:nvSpPr>
          <p:spPr bwMode="auto">
            <a:xfrm>
              <a:off x="5253038" y="5054600"/>
              <a:ext cx="630238" cy="319087"/>
            </a:xfrm>
            <a:custGeom>
              <a:avLst/>
              <a:gdLst>
                <a:gd name="T0" fmla="*/ 181 w 242"/>
                <a:gd name="T1" fmla="*/ 75 h 122"/>
                <a:gd name="T2" fmla="*/ 179 w 242"/>
                <a:gd name="T3" fmla="*/ 75 h 122"/>
                <a:gd name="T4" fmla="*/ 152 w 242"/>
                <a:gd name="T5" fmla="*/ 76 h 122"/>
                <a:gd name="T6" fmla="*/ 145 w 242"/>
                <a:gd name="T7" fmla="*/ 77 h 122"/>
                <a:gd name="T8" fmla="*/ 133 w 242"/>
                <a:gd name="T9" fmla="*/ 90 h 122"/>
                <a:gd name="T10" fmla="*/ 78 w 242"/>
                <a:gd name="T11" fmla="*/ 110 h 122"/>
                <a:gd name="T12" fmla="*/ 0 w 242"/>
                <a:gd name="T13" fmla="*/ 122 h 122"/>
                <a:gd name="T14" fmla="*/ 105 w 242"/>
                <a:gd name="T15" fmla="*/ 122 h 122"/>
                <a:gd name="T16" fmla="*/ 106 w 242"/>
                <a:gd name="T17" fmla="*/ 122 h 122"/>
                <a:gd name="T18" fmla="*/ 144 w 242"/>
                <a:gd name="T19" fmla="*/ 119 h 122"/>
                <a:gd name="T20" fmla="*/ 202 w 242"/>
                <a:gd name="T21" fmla="*/ 110 h 122"/>
                <a:gd name="T22" fmla="*/ 237 w 242"/>
                <a:gd name="T23" fmla="*/ 103 h 122"/>
                <a:gd name="T24" fmla="*/ 242 w 242"/>
                <a:gd name="T25" fmla="*/ 101 h 122"/>
                <a:gd name="T26" fmla="*/ 233 w 242"/>
                <a:gd name="T27" fmla="*/ 81 h 122"/>
                <a:gd name="T28" fmla="*/ 227 w 242"/>
                <a:gd name="T29" fmla="*/ 76 h 122"/>
                <a:gd name="T30" fmla="*/ 226 w 242"/>
                <a:gd name="T31" fmla="*/ 76 h 122"/>
                <a:gd name="T32" fmla="*/ 192 w 242"/>
                <a:gd name="T33" fmla="*/ 78 h 122"/>
                <a:gd name="T34" fmla="*/ 190 w 242"/>
                <a:gd name="T35" fmla="*/ 78 h 122"/>
                <a:gd name="T36" fmla="*/ 188 w 242"/>
                <a:gd name="T37" fmla="*/ 78 h 122"/>
                <a:gd name="T38" fmla="*/ 181 w 242"/>
                <a:gd name="T39" fmla="*/ 75 h 122"/>
                <a:gd name="T40" fmla="*/ 154 w 242"/>
                <a:gd name="T41" fmla="*/ 47 h 122"/>
                <a:gd name="T42" fmla="*/ 154 w 242"/>
                <a:gd name="T43" fmla="*/ 48 h 122"/>
                <a:gd name="T44" fmla="*/ 154 w 242"/>
                <a:gd name="T45" fmla="*/ 54 h 122"/>
                <a:gd name="T46" fmla="*/ 154 w 242"/>
                <a:gd name="T47" fmla="*/ 47 h 122"/>
                <a:gd name="T48" fmla="*/ 114 w 242"/>
                <a:gd name="T49" fmla="*/ 32 h 122"/>
                <a:gd name="T50" fmla="*/ 115 w 242"/>
                <a:gd name="T51" fmla="*/ 33 h 122"/>
                <a:gd name="T52" fmla="*/ 115 w 242"/>
                <a:gd name="T53" fmla="*/ 33 h 122"/>
                <a:gd name="T54" fmla="*/ 115 w 242"/>
                <a:gd name="T55" fmla="*/ 33 h 122"/>
                <a:gd name="T56" fmla="*/ 114 w 242"/>
                <a:gd name="T57" fmla="*/ 32 h 122"/>
                <a:gd name="T58" fmla="*/ 86 w 242"/>
                <a:gd name="T59" fmla="*/ 30 h 122"/>
                <a:gd name="T60" fmla="*/ 74 w 242"/>
                <a:gd name="T61" fmla="*/ 31 h 122"/>
                <a:gd name="T62" fmla="*/ 66 w 242"/>
                <a:gd name="T63" fmla="*/ 33 h 122"/>
                <a:gd name="T64" fmla="*/ 86 w 242"/>
                <a:gd name="T65" fmla="*/ 30 h 122"/>
                <a:gd name="T66" fmla="*/ 100 w 242"/>
                <a:gd name="T67" fmla="*/ 29 h 122"/>
                <a:gd name="T68" fmla="*/ 112 w 242"/>
                <a:gd name="T69" fmla="*/ 31 h 122"/>
                <a:gd name="T70" fmla="*/ 113 w 242"/>
                <a:gd name="T71" fmla="*/ 32 h 122"/>
                <a:gd name="T72" fmla="*/ 104 w 242"/>
                <a:gd name="T73" fmla="*/ 29 h 122"/>
                <a:gd name="T74" fmla="*/ 100 w 242"/>
                <a:gd name="T75" fmla="*/ 29 h 122"/>
                <a:gd name="T76" fmla="*/ 132 w 242"/>
                <a:gd name="T77" fmla="*/ 0 h 122"/>
                <a:gd name="T78" fmla="*/ 132 w 242"/>
                <a:gd name="T79" fmla="*/ 0 h 122"/>
                <a:gd name="T80" fmla="*/ 140 w 242"/>
                <a:gd name="T81" fmla="*/ 10 h 122"/>
                <a:gd name="T82" fmla="*/ 140 w 242"/>
                <a:gd name="T83" fmla="*/ 10 h 122"/>
                <a:gd name="T84" fmla="*/ 147 w 242"/>
                <a:gd name="T85" fmla="*/ 25 h 122"/>
                <a:gd name="T86" fmla="*/ 145 w 242"/>
                <a:gd name="T87" fmla="*/ 20 h 122"/>
                <a:gd name="T88" fmla="*/ 132 w 242"/>
                <a:gd name="T8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2" h="122">
                  <a:moveTo>
                    <a:pt x="181" y="75"/>
                  </a:moveTo>
                  <a:cubicBezTo>
                    <a:pt x="181" y="75"/>
                    <a:pt x="180" y="75"/>
                    <a:pt x="179" y="75"/>
                  </a:cubicBezTo>
                  <a:cubicBezTo>
                    <a:pt x="170" y="75"/>
                    <a:pt x="161" y="75"/>
                    <a:pt x="152" y="76"/>
                  </a:cubicBezTo>
                  <a:cubicBezTo>
                    <a:pt x="150" y="76"/>
                    <a:pt x="148" y="76"/>
                    <a:pt x="145" y="77"/>
                  </a:cubicBezTo>
                  <a:cubicBezTo>
                    <a:pt x="142" y="82"/>
                    <a:pt x="138" y="86"/>
                    <a:pt x="133" y="90"/>
                  </a:cubicBezTo>
                  <a:cubicBezTo>
                    <a:pt x="118" y="102"/>
                    <a:pt x="97" y="107"/>
                    <a:pt x="78" y="110"/>
                  </a:cubicBezTo>
                  <a:cubicBezTo>
                    <a:pt x="52" y="114"/>
                    <a:pt x="26" y="118"/>
                    <a:pt x="0" y="122"/>
                  </a:cubicBezTo>
                  <a:cubicBezTo>
                    <a:pt x="0" y="122"/>
                    <a:pt x="72" y="122"/>
                    <a:pt x="105" y="122"/>
                  </a:cubicBezTo>
                  <a:cubicBezTo>
                    <a:pt x="105" y="122"/>
                    <a:pt x="106" y="122"/>
                    <a:pt x="106" y="122"/>
                  </a:cubicBezTo>
                  <a:cubicBezTo>
                    <a:pt x="119" y="122"/>
                    <a:pt x="131" y="121"/>
                    <a:pt x="144" y="119"/>
                  </a:cubicBezTo>
                  <a:cubicBezTo>
                    <a:pt x="163" y="116"/>
                    <a:pt x="182" y="113"/>
                    <a:pt x="202" y="110"/>
                  </a:cubicBezTo>
                  <a:cubicBezTo>
                    <a:pt x="213" y="108"/>
                    <a:pt x="225" y="105"/>
                    <a:pt x="237" y="103"/>
                  </a:cubicBezTo>
                  <a:cubicBezTo>
                    <a:pt x="238" y="103"/>
                    <a:pt x="240" y="102"/>
                    <a:pt x="242" y="101"/>
                  </a:cubicBezTo>
                  <a:cubicBezTo>
                    <a:pt x="239" y="94"/>
                    <a:pt x="236" y="88"/>
                    <a:pt x="233" y="81"/>
                  </a:cubicBezTo>
                  <a:cubicBezTo>
                    <a:pt x="232" y="78"/>
                    <a:pt x="230" y="76"/>
                    <a:pt x="227" y="76"/>
                  </a:cubicBezTo>
                  <a:cubicBezTo>
                    <a:pt x="226" y="76"/>
                    <a:pt x="226" y="76"/>
                    <a:pt x="226" y="76"/>
                  </a:cubicBezTo>
                  <a:cubicBezTo>
                    <a:pt x="215" y="77"/>
                    <a:pt x="203" y="78"/>
                    <a:pt x="192" y="78"/>
                  </a:cubicBezTo>
                  <a:cubicBezTo>
                    <a:pt x="192" y="78"/>
                    <a:pt x="191" y="78"/>
                    <a:pt x="190" y="78"/>
                  </a:cubicBezTo>
                  <a:cubicBezTo>
                    <a:pt x="189" y="78"/>
                    <a:pt x="188" y="78"/>
                    <a:pt x="188" y="78"/>
                  </a:cubicBezTo>
                  <a:cubicBezTo>
                    <a:pt x="186" y="75"/>
                    <a:pt x="184" y="75"/>
                    <a:pt x="181" y="75"/>
                  </a:cubicBezTo>
                  <a:moveTo>
                    <a:pt x="154" y="47"/>
                  </a:moveTo>
                  <a:cubicBezTo>
                    <a:pt x="154" y="48"/>
                    <a:pt x="154" y="48"/>
                    <a:pt x="154" y="48"/>
                  </a:cubicBezTo>
                  <a:cubicBezTo>
                    <a:pt x="154" y="50"/>
                    <a:pt x="154" y="52"/>
                    <a:pt x="154" y="54"/>
                  </a:cubicBezTo>
                  <a:cubicBezTo>
                    <a:pt x="154" y="52"/>
                    <a:pt x="154" y="50"/>
                    <a:pt x="154" y="47"/>
                  </a:cubicBezTo>
                  <a:moveTo>
                    <a:pt x="114" y="32"/>
                  </a:moveTo>
                  <a:cubicBezTo>
                    <a:pt x="114" y="32"/>
                    <a:pt x="115" y="33"/>
                    <a:pt x="115" y="33"/>
                  </a:cubicBezTo>
                  <a:cubicBezTo>
                    <a:pt x="115" y="33"/>
                    <a:pt x="115" y="33"/>
                    <a:pt x="115" y="33"/>
                  </a:cubicBezTo>
                  <a:cubicBezTo>
                    <a:pt x="115" y="33"/>
                    <a:pt x="115" y="33"/>
                    <a:pt x="115" y="33"/>
                  </a:cubicBezTo>
                  <a:cubicBezTo>
                    <a:pt x="115" y="33"/>
                    <a:pt x="114" y="32"/>
                    <a:pt x="114" y="32"/>
                  </a:cubicBezTo>
                  <a:moveTo>
                    <a:pt x="86" y="30"/>
                  </a:moveTo>
                  <a:cubicBezTo>
                    <a:pt x="82" y="30"/>
                    <a:pt x="78" y="31"/>
                    <a:pt x="74" y="31"/>
                  </a:cubicBezTo>
                  <a:cubicBezTo>
                    <a:pt x="71" y="32"/>
                    <a:pt x="68" y="32"/>
                    <a:pt x="66" y="33"/>
                  </a:cubicBezTo>
                  <a:cubicBezTo>
                    <a:pt x="73" y="31"/>
                    <a:pt x="80" y="30"/>
                    <a:pt x="86" y="30"/>
                  </a:cubicBezTo>
                  <a:moveTo>
                    <a:pt x="100" y="29"/>
                  </a:moveTo>
                  <a:cubicBezTo>
                    <a:pt x="104" y="29"/>
                    <a:pt x="108" y="30"/>
                    <a:pt x="112" y="31"/>
                  </a:cubicBezTo>
                  <a:cubicBezTo>
                    <a:pt x="112" y="31"/>
                    <a:pt x="113" y="32"/>
                    <a:pt x="113" y="32"/>
                  </a:cubicBezTo>
                  <a:cubicBezTo>
                    <a:pt x="110" y="31"/>
                    <a:pt x="107" y="30"/>
                    <a:pt x="104" y="29"/>
                  </a:cubicBezTo>
                  <a:cubicBezTo>
                    <a:pt x="103" y="29"/>
                    <a:pt x="101" y="29"/>
                    <a:pt x="100" y="29"/>
                  </a:cubicBezTo>
                  <a:moveTo>
                    <a:pt x="132" y="0"/>
                  </a:moveTo>
                  <a:cubicBezTo>
                    <a:pt x="132" y="0"/>
                    <a:pt x="132" y="0"/>
                    <a:pt x="132" y="0"/>
                  </a:cubicBezTo>
                  <a:cubicBezTo>
                    <a:pt x="136" y="3"/>
                    <a:pt x="138" y="6"/>
                    <a:pt x="140" y="10"/>
                  </a:cubicBezTo>
                  <a:cubicBezTo>
                    <a:pt x="140" y="10"/>
                    <a:pt x="140" y="10"/>
                    <a:pt x="140" y="10"/>
                  </a:cubicBezTo>
                  <a:cubicBezTo>
                    <a:pt x="142" y="15"/>
                    <a:pt x="145" y="20"/>
                    <a:pt x="147" y="25"/>
                  </a:cubicBezTo>
                  <a:cubicBezTo>
                    <a:pt x="146" y="23"/>
                    <a:pt x="145" y="22"/>
                    <a:pt x="145" y="20"/>
                  </a:cubicBezTo>
                  <a:cubicBezTo>
                    <a:pt x="141" y="13"/>
                    <a:pt x="139" y="5"/>
                    <a:pt x="132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9" name="任意多边形 298">
              <a:extLst>
                <a:ext uri="{FF2B5EF4-FFF2-40B4-BE49-F238E27FC236}">
                  <a16:creationId xmlns:a16="http://schemas.microsoft.com/office/drawing/2014/main" id="{2A46E64F-B676-4F28-A4E0-A6A7E3DB22D1}"/>
                </a:ext>
              </a:extLst>
            </p:cNvPr>
            <p:cNvSpPr/>
            <p:nvPr/>
          </p:nvSpPr>
          <p:spPr bwMode="auto">
            <a:xfrm>
              <a:off x="5253038" y="4887913"/>
              <a:ext cx="401638" cy="485775"/>
            </a:xfrm>
            <a:custGeom>
              <a:avLst/>
              <a:gdLst>
                <a:gd name="T0" fmla="*/ 87 w 154"/>
                <a:gd name="T1" fmla="*/ 94 h 186"/>
                <a:gd name="T2" fmla="*/ 100 w 154"/>
                <a:gd name="T3" fmla="*/ 93 h 186"/>
                <a:gd name="T4" fmla="*/ 113 w 154"/>
                <a:gd name="T5" fmla="*/ 96 h 186"/>
                <a:gd name="T6" fmla="*/ 115 w 154"/>
                <a:gd name="T7" fmla="*/ 97 h 186"/>
                <a:gd name="T8" fmla="*/ 115 w 154"/>
                <a:gd name="T9" fmla="*/ 97 h 186"/>
                <a:gd name="T10" fmla="*/ 126 w 154"/>
                <a:gd name="T11" fmla="*/ 117 h 186"/>
                <a:gd name="T12" fmla="*/ 126 w 154"/>
                <a:gd name="T13" fmla="*/ 117 h 186"/>
                <a:gd name="T14" fmla="*/ 112 w 154"/>
                <a:gd name="T15" fmla="*/ 143 h 186"/>
                <a:gd name="T16" fmla="*/ 27 w 154"/>
                <a:gd name="T17" fmla="*/ 161 h 186"/>
                <a:gd name="T18" fmla="*/ 27 w 154"/>
                <a:gd name="T19" fmla="*/ 102 h 186"/>
                <a:gd name="T20" fmla="*/ 66 w 154"/>
                <a:gd name="T21" fmla="*/ 97 h 186"/>
                <a:gd name="T22" fmla="*/ 86 w 154"/>
                <a:gd name="T23" fmla="*/ 94 h 186"/>
                <a:gd name="T24" fmla="*/ 27 w 154"/>
                <a:gd name="T25" fmla="*/ 30 h 186"/>
                <a:gd name="T26" fmla="*/ 90 w 154"/>
                <a:gd name="T27" fmla="*/ 21 h 186"/>
                <a:gd name="T28" fmla="*/ 96 w 154"/>
                <a:gd name="T29" fmla="*/ 21 h 186"/>
                <a:gd name="T30" fmla="*/ 103 w 154"/>
                <a:gd name="T31" fmla="*/ 22 h 186"/>
                <a:gd name="T32" fmla="*/ 106 w 154"/>
                <a:gd name="T33" fmla="*/ 24 h 186"/>
                <a:gd name="T34" fmla="*/ 113 w 154"/>
                <a:gd name="T35" fmla="*/ 28 h 186"/>
                <a:gd name="T36" fmla="*/ 118 w 154"/>
                <a:gd name="T37" fmla="*/ 43 h 186"/>
                <a:gd name="T38" fmla="*/ 97 w 154"/>
                <a:gd name="T39" fmla="*/ 69 h 186"/>
                <a:gd name="T40" fmla="*/ 27 w 154"/>
                <a:gd name="T41" fmla="*/ 82 h 186"/>
                <a:gd name="T42" fmla="*/ 27 w 154"/>
                <a:gd name="T43" fmla="*/ 30 h 186"/>
                <a:gd name="T44" fmla="*/ 99 w 154"/>
                <a:gd name="T45" fmla="*/ 0 h 186"/>
                <a:gd name="T46" fmla="*/ 78 w 154"/>
                <a:gd name="T47" fmla="*/ 2 h 186"/>
                <a:gd name="T48" fmla="*/ 78 w 154"/>
                <a:gd name="T49" fmla="*/ 2 h 186"/>
                <a:gd name="T50" fmla="*/ 77 w 154"/>
                <a:gd name="T51" fmla="*/ 2 h 186"/>
                <a:gd name="T52" fmla="*/ 77 w 154"/>
                <a:gd name="T53" fmla="*/ 2 h 186"/>
                <a:gd name="T54" fmla="*/ 29 w 154"/>
                <a:gd name="T55" fmla="*/ 10 h 186"/>
                <a:gd name="T56" fmla="*/ 0 w 154"/>
                <a:gd name="T57" fmla="*/ 14 h 186"/>
                <a:gd name="T58" fmla="*/ 0 w 154"/>
                <a:gd name="T59" fmla="*/ 186 h 186"/>
                <a:gd name="T60" fmla="*/ 133 w 154"/>
                <a:gd name="T61" fmla="*/ 154 h 186"/>
                <a:gd name="T62" fmla="*/ 145 w 154"/>
                <a:gd name="T63" fmla="*/ 141 h 186"/>
                <a:gd name="T64" fmla="*/ 154 w 154"/>
                <a:gd name="T65" fmla="*/ 118 h 186"/>
                <a:gd name="T66" fmla="*/ 154 w 154"/>
                <a:gd name="T67" fmla="*/ 111 h 186"/>
                <a:gd name="T68" fmla="*/ 144 w 154"/>
                <a:gd name="T69" fmla="*/ 88 h 186"/>
                <a:gd name="T70" fmla="*/ 116 w 154"/>
                <a:gd name="T71" fmla="*/ 77 h 186"/>
                <a:gd name="T72" fmla="*/ 132 w 154"/>
                <a:gd name="T73" fmla="*/ 64 h 186"/>
                <a:gd name="T74" fmla="*/ 132 w 154"/>
                <a:gd name="T75" fmla="*/ 64 h 186"/>
                <a:gd name="T76" fmla="*/ 137 w 154"/>
                <a:gd name="T77" fmla="*/ 58 h 186"/>
                <a:gd name="T78" fmla="*/ 143 w 154"/>
                <a:gd name="T79" fmla="*/ 46 h 186"/>
                <a:gd name="T80" fmla="*/ 144 w 154"/>
                <a:gd name="T81" fmla="*/ 34 h 186"/>
                <a:gd name="T82" fmla="*/ 141 w 154"/>
                <a:gd name="T83" fmla="*/ 22 h 186"/>
                <a:gd name="T84" fmla="*/ 131 w 154"/>
                <a:gd name="T85" fmla="*/ 9 h 186"/>
                <a:gd name="T86" fmla="*/ 126 w 154"/>
                <a:gd name="T87" fmla="*/ 6 h 186"/>
                <a:gd name="T88" fmla="*/ 116 w 154"/>
                <a:gd name="T89" fmla="*/ 2 h 186"/>
                <a:gd name="T90" fmla="*/ 114 w 154"/>
                <a:gd name="T91" fmla="*/ 2 h 186"/>
                <a:gd name="T92" fmla="*/ 114 w 154"/>
                <a:gd name="T93" fmla="*/ 2 h 186"/>
                <a:gd name="T94" fmla="*/ 113 w 154"/>
                <a:gd name="T95" fmla="*/ 2 h 186"/>
                <a:gd name="T96" fmla="*/ 99 w 154"/>
                <a:gd name="T9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4" h="186">
                  <a:moveTo>
                    <a:pt x="86" y="94"/>
                  </a:moveTo>
                  <a:cubicBezTo>
                    <a:pt x="86" y="94"/>
                    <a:pt x="86" y="94"/>
                    <a:pt x="87" y="94"/>
                  </a:cubicBezTo>
                  <a:cubicBezTo>
                    <a:pt x="89" y="93"/>
                    <a:pt x="93" y="93"/>
                    <a:pt x="96" y="93"/>
                  </a:cubicBezTo>
                  <a:cubicBezTo>
                    <a:pt x="97" y="93"/>
                    <a:pt x="98" y="93"/>
                    <a:pt x="100" y="93"/>
                  </a:cubicBezTo>
                  <a:cubicBezTo>
                    <a:pt x="101" y="93"/>
                    <a:pt x="103" y="93"/>
                    <a:pt x="104" y="93"/>
                  </a:cubicBezTo>
                  <a:cubicBezTo>
                    <a:pt x="107" y="94"/>
                    <a:pt x="110" y="95"/>
                    <a:pt x="113" y="96"/>
                  </a:cubicBezTo>
                  <a:cubicBezTo>
                    <a:pt x="113" y="96"/>
                    <a:pt x="114" y="96"/>
                    <a:pt x="114" y="96"/>
                  </a:cubicBezTo>
                  <a:cubicBezTo>
                    <a:pt x="114" y="96"/>
                    <a:pt x="115" y="97"/>
                    <a:pt x="115" y="97"/>
                  </a:cubicBezTo>
                  <a:cubicBezTo>
                    <a:pt x="115" y="97"/>
                    <a:pt x="115" y="97"/>
                    <a:pt x="115" y="97"/>
                  </a:cubicBezTo>
                  <a:cubicBezTo>
                    <a:pt x="115" y="97"/>
                    <a:pt x="115" y="97"/>
                    <a:pt x="115" y="97"/>
                  </a:cubicBezTo>
                  <a:cubicBezTo>
                    <a:pt x="117" y="98"/>
                    <a:pt x="119" y="99"/>
                    <a:pt x="120" y="101"/>
                  </a:cubicBezTo>
                  <a:cubicBezTo>
                    <a:pt x="124" y="105"/>
                    <a:pt x="126" y="110"/>
                    <a:pt x="126" y="11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22"/>
                    <a:pt x="125" y="127"/>
                    <a:pt x="122" y="132"/>
                  </a:cubicBezTo>
                  <a:cubicBezTo>
                    <a:pt x="119" y="136"/>
                    <a:pt x="116" y="140"/>
                    <a:pt x="112" y="143"/>
                  </a:cubicBezTo>
                  <a:cubicBezTo>
                    <a:pt x="108" y="146"/>
                    <a:pt x="102" y="148"/>
                    <a:pt x="96" y="150"/>
                  </a:cubicBezTo>
                  <a:cubicBezTo>
                    <a:pt x="89" y="152"/>
                    <a:pt x="79" y="154"/>
                    <a:pt x="27" y="161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7" y="102"/>
                    <a:pt x="47" y="99"/>
                    <a:pt x="66" y="97"/>
                  </a:cubicBezTo>
                  <a:cubicBezTo>
                    <a:pt x="68" y="96"/>
                    <a:pt x="71" y="96"/>
                    <a:pt x="74" y="95"/>
                  </a:cubicBezTo>
                  <a:cubicBezTo>
                    <a:pt x="78" y="95"/>
                    <a:pt x="82" y="94"/>
                    <a:pt x="86" y="94"/>
                  </a:cubicBezTo>
                  <a:moveTo>
                    <a:pt x="27" y="30"/>
                  </a:move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68" y="24"/>
                    <a:pt x="84" y="22"/>
                  </a:cubicBezTo>
                  <a:cubicBezTo>
                    <a:pt x="86" y="21"/>
                    <a:pt x="88" y="21"/>
                    <a:pt x="90" y="21"/>
                  </a:cubicBezTo>
                  <a:cubicBezTo>
                    <a:pt x="92" y="21"/>
                    <a:pt x="94" y="21"/>
                    <a:pt x="95" y="21"/>
                  </a:cubicBezTo>
                  <a:cubicBezTo>
                    <a:pt x="95" y="21"/>
                    <a:pt x="96" y="21"/>
                    <a:pt x="96" y="21"/>
                  </a:cubicBezTo>
                  <a:cubicBezTo>
                    <a:pt x="97" y="21"/>
                    <a:pt x="98" y="21"/>
                    <a:pt x="98" y="21"/>
                  </a:cubicBezTo>
                  <a:cubicBezTo>
                    <a:pt x="100" y="21"/>
                    <a:pt x="102" y="22"/>
                    <a:pt x="103" y="22"/>
                  </a:cubicBezTo>
                  <a:cubicBezTo>
                    <a:pt x="104" y="22"/>
                    <a:pt x="105" y="23"/>
                    <a:pt x="106" y="23"/>
                  </a:cubicBezTo>
                  <a:cubicBezTo>
                    <a:pt x="106" y="23"/>
                    <a:pt x="106" y="24"/>
                    <a:pt x="106" y="24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9" y="25"/>
                    <a:pt x="111" y="26"/>
                    <a:pt x="113" y="28"/>
                  </a:cubicBezTo>
                  <a:cubicBezTo>
                    <a:pt x="116" y="32"/>
                    <a:pt x="118" y="37"/>
                    <a:pt x="118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56"/>
                    <a:pt x="109" y="64"/>
                    <a:pt x="97" y="69"/>
                  </a:cubicBezTo>
                  <a:cubicBezTo>
                    <a:pt x="92" y="72"/>
                    <a:pt x="83" y="74"/>
                    <a:pt x="71" y="75"/>
                  </a:cubicBezTo>
                  <a:cubicBezTo>
                    <a:pt x="57" y="78"/>
                    <a:pt x="42" y="80"/>
                    <a:pt x="27" y="82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3" y="0"/>
                    <a:pt x="86" y="1"/>
                    <a:pt x="78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61" y="5"/>
                    <a:pt x="45" y="7"/>
                    <a:pt x="30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8" y="13"/>
                    <a:pt x="4" y="14"/>
                    <a:pt x="0" y="14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26" y="182"/>
                    <a:pt x="52" y="178"/>
                    <a:pt x="78" y="174"/>
                  </a:cubicBezTo>
                  <a:cubicBezTo>
                    <a:pt x="97" y="171"/>
                    <a:pt x="118" y="166"/>
                    <a:pt x="133" y="154"/>
                  </a:cubicBezTo>
                  <a:cubicBezTo>
                    <a:pt x="138" y="150"/>
                    <a:pt x="142" y="146"/>
                    <a:pt x="145" y="141"/>
                  </a:cubicBezTo>
                  <a:cubicBezTo>
                    <a:pt x="145" y="141"/>
                    <a:pt x="145" y="141"/>
                    <a:pt x="145" y="141"/>
                  </a:cubicBezTo>
                  <a:cubicBezTo>
                    <a:pt x="145" y="141"/>
                    <a:pt x="148" y="136"/>
                    <a:pt x="151" y="129"/>
                  </a:cubicBezTo>
                  <a:cubicBezTo>
                    <a:pt x="152" y="126"/>
                    <a:pt x="153" y="122"/>
                    <a:pt x="154" y="118"/>
                  </a:cubicBezTo>
                  <a:cubicBezTo>
                    <a:pt x="154" y="116"/>
                    <a:pt x="154" y="114"/>
                    <a:pt x="154" y="112"/>
                  </a:cubicBezTo>
                  <a:cubicBezTo>
                    <a:pt x="154" y="112"/>
                    <a:pt x="154" y="112"/>
                    <a:pt x="154" y="111"/>
                  </a:cubicBezTo>
                  <a:cubicBezTo>
                    <a:pt x="154" y="106"/>
                    <a:pt x="153" y="101"/>
                    <a:pt x="150" y="96"/>
                  </a:cubicBezTo>
                  <a:cubicBezTo>
                    <a:pt x="149" y="93"/>
                    <a:pt x="147" y="90"/>
                    <a:pt x="144" y="88"/>
                  </a:cubicBezTo>
                  <a:cubicBezTo>
                    <a:pt x="137" y="82"/>
                    <a:pt x="128" y="78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22" y="73"/>
                    <a:pt x="128" y="68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4" y="61"/>
                    <a:pt x="136" y="60"/>
                    <a:pt x="137" y="58"/>
                  </a:cubicBezTo>
                  <a:cubicBezTo>
                    <a:pt x="139" y="53"/>
                    <a:pt x="141" y="50"/>
                    <a:pt x="142" y="47"/>
                  </a:cubicBezTo>
                  <a:cubicBezTo>
                    <a:pt x="142" y="46"/>
                    <a:pt x="143" y="46"/>
                    <a:pt x="143" y="46"/>
                  </a:cubicBezTo>
                  <a:cubicBezTo>
                    <a:pt x="144" y="42"/>
                    <a:pt x="144" y="39"/>
                    <a:pt x="144" y="35"/>
                  </a:cubicBezTo>
                  <a:cubicBezTo>
                    <a:pt x="144" y="35"/>
                    <a:pt x="144" y="34"/>
                    <a:pt x="144" y="34"/>
                  </a:cubicBezTo>
                  <a:cubicBezTo>
                    <a:pt x="144" y="32"/>
                    <a:pt x="144" y="30"/>
                    <a:pt x="143" y="28"/>
                  </a:cubicBezTo>
                  <a:cubicBezTo>
                    <a:pt x="143" y="26"/>
                    <a:pt x="142" y="24"/>
                    <a:pt x="141" y="22"/>
                  </a:cubicBezTo>
                  <a:cubicBezTo>
                    <a:pt x="140" y="20"/>
                    <a:pt x="138" y="17"/>
                    <a:pt x="136" y="15"/>
                  </a:cubicBezTo>
                  <a:cubicBezTo>
                    <a:pt x="135" y="13"/>
                    <a:pt x="133" y="11"/>
                    <a:pt x="131" y="9"/>
                  </a:cubicBezTo>
                  <a:cubicBezTo>
                    <a:pt x="130" y="9"/>
                    <a:pt x="130" y="9"/>
                    <a:pt x="129" y="8"/>
                  </a:cubicBezTo>
                  <a:cubicBezTo>
                    <a:pt x="128" y="7"/>
                    <a:pt x="127" y="7"/>
                    <a:pt x="126" y="6"/>
                  </a:cubicBezTo>
                  <a:cubicBezTo>
                    <a:pt x="124" y="5"/>
                    <a:pt x="121" y="4"/>
                    <a:pt x="119" y="3"/>
                  </a:cubicBezTo>
                  <a:cubicBezTo>
                    <a:pt x="118" y="3"/>
                    <a:pt x="117" y="3"/>
                    <a:pt x="116" y="2"/>
                  </a:cubicBezTo>
                  <a:cubicBezTo>
                    <a:pt x="116" y="2"/>
                    <a:pt x="115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09" y="1"/>
                    <a:pt x="105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</a:path>
              </a:pathLst>
            </a:custGeom>
            <a:solidFill>
              <a:srgbClr val="592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0" name="任意多边形 299">
              <a:extLst>
                <a:ext uri="{FF2B5EF4-FFF2-40B4-BE49-F238E27FC236}">
                  <a16:creationId xmlns:a16="http://schemas.microsoft.com/office/drawing/2014/main" id="{76C4A78F-CD70-42EF-AA2F-FD316A36C9AC}"/>
                </a:ext>
              </a:extLst>
            </p:cNvPr>
            <p:cNvSpPr/>
            <p:nvPr/>
          </p:nvSpPr>
          <p:spPr bwMode="auto">
            <a:xfrm>
              <a:off x="5554663" y="5054600"/>
              <a:ext cx="88900" cy="84137"/>
            </a:xfrm>
            <a:custGeom>
              <a:avLst/>
              <a:gdLst>
                <a:gd name="T0" fmla="*/ 16 w 34"/>
                <a:gd name="T1" fmla="*/ 0 h 32"/>
                <a:gd name="T2" fmla="*/ 0 w 34"/>
                <a:gd name="T3" fmla="*/ 13 h 32"/>
                <a:gd name="T4" fmla="*/ 0 w 34"/>
                <a:gd name="T5" fmla="*/ 13 h 32"/>
                <a:gd name="T6" fmla="*/ 28 w 34"/>
                <a:gd name="T7" fmla="*/ 24 h 32"/>
                <a:gd name="T8" fmla="*/ 34 w 34"/>
                <a:gd name="T9" fmla="*/ 32 h 32"/>
                <a:gd name="T10" fmla="*/ 34 w 34"/>
                <a:gd name="T11" fmla="*/ 31 h 32"/>
                <a:gd name="T12" fmla="*/ 31 w 34"/>
                <a:gd name="T13" fmla="*/ 25 h 32"/>
                <a:gd name="T14" fmla="*/ 24 w 34"/>
                <a:gd name="T15" fmla="*/ 10 h 32"/>
                <a:gd name="T16" fmla="*/ 24 w 34"/>
                <a:gd name="T17" fmla="*/ 10 h 32"/>
                <a:gd name="T18" fmla="*/ 16 w 34"/>
                <a:gd name="T19" fmla="*/ 0 h 32"/>
                <a:gd name="T20" fmla="*/ 16 w 34"/>
                <a:gd name="T2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2">
                  <a:moveTo>
                    <a:pt x="16" y="0"/>
                  </a:moveTo>
                  <a:cubicBezTo>
                    <a:pt x="12" y="4"/>
                    <a:pt x="6" y="9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2" y="14"/>
                    <a:pt x="21" y="18"/>
                    <a:pt x="28" y="24"/>
                  </a:cubicBezTo>
                  <a:cubicBezTo>
                    <a:pt x="31" y="26"/>
                    <a:pt x="33" y="29"/>
                    <a:pt x="34" y="32"/>
                  </a:cubicBezTo>
                  <a:cubicBezTo>
                    <a:pt x="34" y="32"/>
                    <a:pt x="34" y="32"/>
                    <a:pt x="34" y="31"/>
                  </a:cubicBezTo>
                  <a:cubicBezTo>
                    <a:pt x="33" y="29"/>
                    <a:pt x="32" y="27"/>
                    <a:pt x="31" y="25"/>
                  </a:cubicBezTo>
                  <a:cubicBezTo>
                    <a:pt x="29" y="20"/>
                    <a:pt x="26" y="15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2" y="6"/>
                    <a:pt x="20" y="3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592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1" name="任意多边形 300">
              <a:extLst>
                <a:ext uri="{FF2B5EF4-FFF2-40B4-BE49-F238E27FC236}">
                  <a16:creationId xmlns:a16="http://schemas.microsoft.com/office/drawing/2014/main" id="{F1E8D3C0-C0F7-4477-AEFF-DFA533CCC087}"/>
                </a:ext>
              </a:extLst>
            </p:cNvPr>
            <p:cNvSpPr/>
            <p:nvPr/>
          </p:nvSpPr>
          <p:spPr bwMode="auto">
            <a:xfrm>
              <a:off x="5253038" y="4887913"/>
              <a:ext cx="366713" cy="57150"/>
            </a:xfrm>
            <a:custGeom>
              <a:avLst/>
              <a:gdLst>
                <a:gd name="T0" fmla="*/ 136 w 141"/>
                <a:gd name="T1" fmla="*/ 15 h 22"/>
                <a:gd name="T2" fmla="*/ 141 w 141"/>
                <a:gd name="T3" fmla="*/ 22 h 22"/>
                <a:gd name="T4" fmla="*/ 141 w 141"/>
                <a:gd name="T5" fmla="*/ 22 h 22"/>
                <a:gd name="T6" fmla="*/ 140 w 141"/>
                <a:gd name="T7" fmla="*/ 20 h 22"/>
                <a:gd name="T8" fmla="*/ 136 w 141"/>
                <a:gd name="T9" fmla="*/ 15 h 22"/>
                <a:gd name="T10" fmla="*/ 11 w 141"/>
                <a:gd name="T11" fmla="*/ 12 h 22"/>
                <a:gd name="T12" fmla="*/ 0 w 141"/>
                <a:gd name="T13" fmla="*/ 14 h 22"/>
                <a:gd name="T14" fmla="*/ 11 w 141"/>
                <a:gd name="T15" fmla="*/ 12 h 22"/>
                <a:gd name="T16" fmla="*/ 126 w 141"/>
                <a:gd name="T17" fmla="*/ 6 h 22"/>
                <a:gd name="T18" fmla="*/ 129 w 141"/>
                <a:gd name="T19" fmla="*/ 8 h 22"/>
                <a:gd name="T20" fmla="*/ 126 w 141"/>
                <a:gd name="T21" fmla="*/ 6 h 22"/>
                <a:gd name="T22" fmla="*/ 101 w 141"/>
                <a:gd name="T23" fmla="*/ 0 h 22"/>
                <a:gd name="T24" fmla="*/ 86 w 141"/>
                <a:gd name="T25" fmla="*/ 1 h 22"/>
                <a:gd name="T26" fmla="*/ 30 w 141"/>
                <a:gd name="T27" fmla="*/ 10 h 22"/>
                <a:gd name="T28" fmla="*/ 77 w 141"/>
                <a:gd name="T29" fmla="*/ 2 h 22"/>
                <a:gd name="T30" fmla="*/ 77 w 141"/>
                <a:gd name="T31" fmla="*/ 2 h 22"/>
                <a:gd name="T32" fmla="*/ 77 w 141"/>
                <a:gd name="T33" fmla="*/ 2 h 22"/>
                <a:gd name="T34" fmla="*/ 78 w 141"/>
                <a:gd name="T35" fmla="*/ 2 h 22"/>
                <a:gd name="T36" fmla="*/ 78 w 141"/>
                <a:gd name="T37" fmla="*/ 2 h 22"/>
                <a:gd name="T38" fmla="*/ 78 w 141"/>
                <a:gd name="T39" fmla="*/ 2 h 22"/>
                <a:gd name="T40" fmla="*/ 78 w 141"/>
                <a:gd name="T41" fmla="*/ 2 h 22"/>
                <a:gd name="T42" fmla="*/ 99 w 141"/>
                <a:gd name="T43" fmla="*/ 0 h 22"/>
                <a:gd name="T44" fmla="*/ 99 w 141"/>
                <a:gd name="T45" fmla="*/ 0 h 22"/>
                <a:gd name="T46" fmla="*/ 99 w 141"/>
                <a:gd name="T47" fmla="*/ 0 h 22"/>
                <a:gd name="T48" fmla="*/ 99 w 141"/>
                <a:gd name="T49" fmla="*/ 0 h 22"/>
                <a:gd name="T50" fmla="*/ 113 w 141"/>
                <a:gd name="T51" fmla="*/ 2 h 22"/>
                <a:gd name="T52" fmla="*/ 114 w 141"/>
                <a:gd name="T53" fmla="*/ 2 h 22"/>
                <a:gd name="T54" fmla="*/ 114 w 141"/>
                <a:gd name="T55" fmla="*/ 2 h 22"/>
                <a:gd name="T56" fmla="*/ 114 w 141"/>
                <a:gd name="T57" fmla="*/ 2 h 22"/>
                <a:gd name="T58" fmla="*/ 114 w 141"/>
                <a:gd name="T59" fmla="*/ 2 h 22"/>
                <a:gd name="T60" fmla="*/ 114 w 141"/>
                <a:gd name="T61" fmla="*/ 2 h 22"/>
                <a:gd name="T62" fmla="*/ 116 w 141"/>
                <a:gd name="T63" fmla="*/ 2 h 22"/>
                <a:gd name="T64" fmla="*/ 101 w 141"/>
                <a:gd name="T6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22">
                  <a:moveTo>
                    <a:pt x="136" y="15"/>
                  </a:moveTo>
                  <a:cubicBezTo>
                    <a:pt x="138" y="17"/>
                    <a:pt x="140" y="20"/>
                    <a:pt x="141" y="22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1"/>
                    <a:pt x="140" y="21"/>
                    <a:pt x="140" y="20"/>
                  </a:cubicBezTo>
                  <a:cubicBezTo>
                    <a:pt x="139" y="18"/>
                    <a:pt x="138" y="16"/>
                    <a:pt x="136" y="15"/>
                  </a:cubicBezTo>
                  <a:moveTo>
                    <a:pt x="11" y="12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8" y="13"/>
                    <a:pt x="11" y="12"/>
                  </a:cubicBezTo>
                  <a:moveTo>
                    <a:pt x="126" y="6"/>
                  </a:moveTo>
                  <a:cubicBezTo>
                    <a:pt x="127" y="7"/>
                    <a:pt x="128" y="7"/>
                    <a:pt x="129" y="8"/>
                  </a:cubicBezTo>
                  <a:cubicBezTo>
                    <a:pt x="128" y="7"/>
                    <a:pt x="127" y="7"/>
                    <a:pt x="126" y="6"/>
                  </a:cubicBezTo>
                  <a:moveTo>
                    <a:pt x="101" y="0"/>
                  </a:moveTo>
                  <a:cubicBezTo>
                    <a:pt x="96" y="0"/>
                    <a:pt x="91" y="1"/>
                    <a:pt x="86" y="1"/>
                  </a:cubicBezTo>
                  <a:cubicBezTo>
                    <a:pt x="64" y="4"/>
                    <a:pt x="31" y="9"/>
                    <a:pt x="30" y="10"/>
                  </a:cubicBezTo>
                  <a:cubicBezTo>
                    <a:pt x="45" y="7"/>
                    <a:pt x="61" y="5"/>
                    <a:pt x="77" y="2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7" y="2"/>
                    <a:pt x="77" y="2"/>
                    <a:pt x="78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86" y="1"/>
                    <a:pt x="93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05" y="0"/>
                    <a:pt x="109" y="1"/>
                    <a:pt x="113" y="2"/>
                  </a:cubicBezTo>
                  <a:cubicBezTo>
                    <a:pt x="113" y="2"/>
                    <a:pt x="113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5" y="2"/>
                    <a:pt x="116" y="2"/>
                    <a:pt x="116" y="2"/>
                  </a:cubicBezTo>
                  <a:cubicBezTo>
                    <a:pt x="111" y="1"/>
                    <a:pt x="106" y="0"/>
                    <a:pt x="101" y="0"/>
                  </a:cubicBezTo>
                </a:path>
              </a:pathLst>
            </a:custGeom>
            <a:solidFill>
              <a:srgbClr val="735D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2" name="任意多边形 301">
              <a:extLst>
                <a:ext uri="{FF2B5EF4-FFF2-40B4-BE49-F238E27FC236}">
                  <a16:creationId xmlns:a16="http://schemas.microsoft.com/office/drawing/2014/main" id="{D775F02D-4C4D-43A1-9DE1-677DFCD4A874}"/>
                </a:ext>
              </a:extLst>
            </p:cNvPr>
            <p:cNvSpPr/>
            <p:nvPr/>
          </p:nvSpPr>
          <p:spPr bwMode="auto">
            <a:xfrm>
              <a:off x="5322888" y="5141913"/>
              <a:ext cx="258763" cy="166687"/>
            </a:xfrm>
            <a:custGeom>
              <a:avLst/>
              <a:gdLst>
                <a:gd name="T0" fmla="*/ 88 w 99"/>
                <a:gd name="T1" fmla="*/ 0 h 64"/>
                <a:gd name="T2" fmla="*/ 88 w 99"/>
                <a:gd name="T3" fmla="*/ 0 h 64"/>
                <a:gd name="T4" fmla="*/ 88 w 99"/>
                <a:gd name="T5" fmla="*/ 0 h 64"/>
                <a:gd name="T6" fmla="*/ 89 w 99"/>
                <a:gd name="T7" fmla="*/ 5 h 64"/>
                <a:gd name="T8" fmla="*/ 67 w 99"/>
                <a:gd name="T9" fmla="*/ 33 h 64"/>
                <a:gd name="T10" fmla="*/ 39 w 99"/>
                <a:gd name="T11" fmla="*/ 40 h 64"/>
                <a:gd name="T12" fmla="*/ 25 w 99"/>
                <a:gd name="T13" fmla="*/ 41 h 64"/>
                <a:gd name="T14" fmla="*/ 0 w 99"/>
                <a:gd name="T15" fmla="*/ 39 h 64"/>
                <a:gd name="T16" fmla="*/ 0 w 99"/>
                <a:gd name="T17" fmla="*/ 39 h 64"/>
                <a:gd name="T18" fmla="*/ 0 w 99"/>
                <a:gd name="T19" fmla="*/ 64 h 64"/>
                <a:gd name="T20" fmla="*/ 69 w 99"/>
                <a:gd name="T21" fmla="*/ 53 h 64"/>
                <a:gd name="T22" fmla="*/ 85 w 99"/>
                <a:gd name="T23" fmla="*/ 46 h 64"/>
                <a:gd name="T24" fmla="*/ 95 w 99"/>
                <a:gd name="T25" fmla="*/ 35 h 64"/>
                <a:gd name="T26" fmla="*/ 99 w 99"/>
                <a:gd name="T27" fmla="*/ 20 h 64"/>
                <a:gd name="T28" fmla="*/ 99 w 99"/>
                <a:gd name="T29" fmla="*/ 20 h 64"/>
                <a:gd name="T30" fmla="*/ 93 w 99"/>
                <a:gd name="T31" fmla="*/ 4 h 64"/>
                <a:gd name="T32" fmla="*/ 88 w 99"/>
                <a:gd name="T3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" h="64">
                  <a:moveTo>
                    <a:pt x="88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9" y="1"/>
                    <a:pt x="89" y="2"/>
                    <a:pt x="89" y="5"/>
                  </a:cubicBezTo>
                  <a:cubicBezTo>
                    <a:pt x="87" y="19"/>
                    <a:pt x="79" y="28"/>
                    <a:pt x="67" y="33"/>
                  </a:cubicBezTo>
                  <a:cubicBezTo>
                    <a:pt x="58" y="37"/>
                    <a:pt x="48" y="38"/>
                    <a:pt x="39" y="40"/>
                  </a:cubicBezTo>
                  <a:cubicBezTo>
                    <a:pt x="35" y="41"/>
                    <a:pt x="30" y="41"/>
                    <a:pt x="25" y="41"/>
                  </a:cubicBezTo>
                  <a:cubicBezTo>
                    <a:pt x="13" y="41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52" y="57"/>
                    <a:pt x="62" y="55"/>
                    <a:pt x="69" y="53"/>
                  </a:cubicBezTo>
                  <a:cubicBezTo>
                    <a:pt x="75" y="51"/>
                    <a:pt x="81" y="49"/>
                    <a:pt x="85" y="46"/>
                  </a:cubicBezTo>
                  <a:cubicBezTo>
                    <a:pt x="89" y="43"/>
                    <a:pt x="92" y="39"/>
                    <a:pt x="95" y="35"/>
                  </a:cubicBezTo>
                  <a:cubicBezTo>
                    <a:pt x="98" y="30"/>
                    <a:pt x="99" y="25"/>
                    <a:pt x="99" y="20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13"/>
                    <a:pt x="97" y="8"/>
                    <a:pt x="93" y="4"/>
                  </a:cubicBezTo>
                  <a:cubicBezTo>
                    <a:pt x="92" y="2"/>
                    <a:pt x="90" y="1"/>
                    <a:pt x="88" y="0"/>
                  </a:cubicBezTo>
                </a:path>
              </a:pathLst>
            </a:custGeom>
            <a:solidFill>
              <a:srgbClr val="735D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3" name="任意多边形 302">
              <a:extLst>
                <a:ext uri="{FF2B5EF4-FFF2-40B4-BE49-F238E27FC236}">
                  <a16:creationId xmlns:a16="http://schemas.microsoft.com/office/drawing/2014/main" id="{1EB1C09C-EE85-4810-9B5E-1620DF89867E}"/>
                </a:ext>
              </a:extLst>
            </p:cNvPr>
            <p:cNvSpPr/>
            <p:nvPr/>
          </p:nvSpPr>
          <p:spPr bwMode="auto">
            <a:xfrm>
              <a:off x="5322888" y="4951413"/>
              <a:ext cx="236538" cy="150812"/>
            </a:xfrm>
            <a:custGeom>
              <a:avLst/>
              <a:gdLst>
                <a:gd name="T0" fmla="*/ 79 w 91"/>
                <a:gd name="T1" fmla="*/ 0 h 58"/>
                <a:gd name="T2" fmla="*/ 79 w 91"/>
                <a:gd name="T3" fmla="*/ 0 h 58"/>
                <a:gd name="T4" fmla="*/ 79 w 91"/>
                <a:gd name="T5" fmla="*/ 0 h 58"/>
                <a:gd name="T6" fmla="*/ 80 w 91"/>
                <a:gd name="T7" fmla="*/ 4 h 58"/>
                <a:gd name="T8" fmla="*/ 69 w 91"/>
                <a:gd name="T9" fmla="*/ 22 h 58"/>
                <a:gd name="T10" fmla="*/ 48 w 91"/>
                <a:gd name="T11" fmla="*/ 31 h 58"/>
                <a:gd name="T12" fmla="*/ 15 w 91"/>
                <a:gd name="T13" fmla="*/ 33 h 58"/>
                <a:gd name="T14" fmla="*/ 0 w 91"/>
                <a:gd name="T15" fmla="*/ 33 h 58"/>
                <a:gd name="T16" fmla="*/ 0 w 91"/>
                <a:gd name="T17" fmla="*/ 33 h 58"/>
                <a:gd name="T18" fmla="*/ 0 w 91"/>
                <a:gd name="T19" fmla="*/ 58 h 58"/>
                <a:gd name="T20" fmla="*/ 44 w 91"/>
                <a:gd name="T21" fmla="*/ 51 h 58"/>
                <a:gd name="T22" fmla="*/ 70 w 91"/>
                <a:gd name="T23" fmla="*/ 45 h 58"/>
                <a:gd name="T24" fmla="*/ 91 w 91"/>
                <a:gd name="T25" fmla="*/ 19 h 58"/>
                <a:gd name="T26" fmla="*/ 91 w 91"/>
                <a:gd name="T27" fmla="*/ 19 h 58"/>
                <a:gd name="T28" fmla="*/ 86 w 91"/>
                <a:gd name="T29" fmla="*/ 4 h 58"/>
                <a:gd name="T30" fmla="*/ 79 w 91"/>
                <a:gd name="T3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1" h="58">
                  <a:moveTo>
                    <a:pt x="79" y="0"/>
                  </a:move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0" y="1"/>
                    <a:pt x="80" y="2"/>
                    <a:pt x="80" y="4"/>
                  </a:cubicBezTo>
                  <a:cubicBezTo>
                    <a:pt x="79" y="12"/>
                    <a:pt x="75" y="17"/>
                    <a:pt x="69" y="22"/>
                  </a:cubicBezTo>
                  <a:cubicBezTo>
                    <a:pt x="63" y="27"/>
                    <a:pt x="55" y="29"/>
                    <a:pt x="48" y="31"/>
                  </a:cubicBezTo>
                  <a:cubicBezTo>
                    <a:pt x="39" y="33"/>
                    <a:pt x="25" y="33"/>
                    <a:pt x="15" y="33"/>
                  </a:cubicBezTo>
                  <a:cubicBezTo>
                    <a:pt x="6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5" y="56"/>
                    <a:pt x="30" y="54"/>
                    <a:pt x="44" y="51"/>
                  </a:cubicBezTo>
                  <a:cubicBezTo>
                    <a:pt x="56" y="50"/>
                    <a:pt x="65" y="48"/>
                    <a:pt x="70" y="45"/>
                  </a:cubicBezTo>
                  <a:cubicBezTo>
                    <a:pt x="82" y="40"/>
                    <a:pt x="91" y="32"/>
                    <a:pt x="91" y="19"/>
                  </a:cubicBezTo>
                  <a:cubicBezTo>
                    <a:pt x="91" y="19"/>
                    <a:pt x="91" y="19"/>
                    <a:pt x="91" y="19"/>
                  </a:cubicBezTo>
                  <a:cubicBezTo>
                    <a:pt x="91" y="13"/>
                    <a:pt x="89" y="8"/>
                    <a:pt x="86" y="4"/>
                  </a:cubicBezTo>
                  <a:cubicBezTo>
                    <a:pt x="84" y="2"/>
                    <a:pt x="82" y="1"/>
                    <a:pt x="79" y="0"/>
                  </a:cubicBezTo>
                </a:path>
              </a:pathLst>
            </a:custGeom>
            <a:solidFill>
              <a:srgbClr val="735D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4" name="任意多边形 303">
              <a:extLst>
                <a:ext uri="{FF2B5EF4-FFF2-40B4-BE49-F238E27FC236}">
                  <a16:creationId xmlns:a16="http://schemas.microsoft.com/office/drawing/2014/main" id="{1EFA6AD4-221A-488E-A5C9-FBC49F383E13}"/>
                </a:ext>
              </a:extLst>
            </p:cNvPr>
            <p:cNvSpPr/>
            <p:nvPr/>
          </p:nvSpPr>
          <p:spPr bwMode="auto">
            <a:xfrm>
              <a:off x="5091113" y="4637088"/>
              <a:ext cx="117475" cy="287337"/>
            </a:xfrm>
            <a:custGeom>
              <a:avLst/>
              <a:gdLst>
                <a:gd name="T0" fmla="*/ 34 w 45"/>
                <a:gd name="T1" fmla="*/ 71 h 110"/>
                <a:gd name="T2" fmla="*/ 34 w 45"/>
                <a:gd name="T3" fmla="*/ 71 h 110"/>
                <a:gd name="T4" fmla="*/ 45 w 45"/>
                <a:gd name="T5" fmla="*/ 110 h 110"/>
                <a:gd name="T6" fmla="*/ 45 w 45"/>
                <a:gd name="T7" fmla="*/ 110 h 110"/>
                <a:gd name="T8" fmla="*/ 34 w 45"/>
                <a:gd name="T9" fmla="*/ 71 h 110"/>
                <a:gd name="T10" fmla="*/ 13 w 45"/>
                <a:gd name="T11" fmla="*/ 0 h 110"/>
                <a:gd name="T12" fmla="*/ 13 w 45"/>
                <a:gd name="T13" fmla="*/ 0 h 110"/>
                <a:gd name="T14" fmla="*/ 0 w 45"/>
                <a:gd name="T15" fmla="*/ 7 h 110"/>
                <a:gd name="T16" fmla="*/ 0 w 45"/>
                <a:gd name="T17" fmla="*/ 7 h 110"/>
                <a:gd name="T18" fmla="*/ 13 w 45"/>
                <a:gd name="T19" fmla="*/ 0 h 110"/>
                <a:gd name="T20" fmla="*/ 25 w 45"/>
                <a:gd name="T21" fmla="*/ 39 h 110"/>
                <a:gd name="T22" fmla="*/ 25 w 45"/>
                <a:gd name="T23" fmla="*/ 39 h 110"/>
                <a:gd name="T24" fmla="*/ 13 w 45"/>
                <a:gd name="T2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110">
                  <a:moveTo>
                    <a:pt x="34" y="71"/>
                  </a:moveTo>
                  <a:cubicBezTo>
                    <a:pt x="34" y="71"/>
                    <a:pt x="34" y="71"/>
                    <a:pt x="34" y="71"/>
                  </a:cubicBezTo>
                  <a:cubicBezTo>
                    <a:pt x="45" y="110"/>
                    <a:pt x="45" y="110"/>
                    <a:pt x="45" y="110"/>
                  </a:cubicBezTo>
                  <a:cubicBezTo>
                    <a:pt x="45" y="110"/>
                    <a:pt x="45" y="110"/>
                    <a:pt x="45" y="110"/>
                  </a:cubicBezTo>
                  <a:cubicBezTo>
                    <a:pt x="42" y="99"/>
                    <a:pt x="38" y="85"/>
                    <a:pt x="34" y="71"/>
                  </a:cubicBezTo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19" y="19"/>
                    <a:pt x="14" y="2"/>
                    <a:pt x="13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5" name="任意多边形 304">
              <a:extLst>
                <a:ext uri="{FF2B5EF4-FFF2-40B4-BE49-F238E27FC236}">
                  <a16:creationId xmlns:a16="http://schemas.microsoft.com/office/drawing/2014/main" id="{63953004-6ECD-45B3-8AFA-ECCC6F826010}"/>
                </a:ext>
              </a:extLst>
            </p:cNvPr>
            <p:cNvSpPr/>
            <p:nvPr/>
          </p:nvSpPr>
          <p:spPr bwMode="auto">
            <a:xfrm>
              <a:off x="5156201" y="4740275"/>
              <a:ext cx="23813" cy="82550"/>
            </a:xfrm>
            <a:custGeom>
              <a:avLst/>
              <a:gdLst>
                <a:gd name="T0" fmla="*/ 0 w 9"/>
                <a:gd name="T1" fmla="*/ 0 h 32"/>
                <a:gd name="T2" fmla="*/ 0 w 9"/>
                <a:gd name="T3" fmla="*/ 0 h 32"/>
                <a:gd name="T4" fmla="*/ 9 w 9"/>
                <a:gd name="T5" fmla="*/ 32 h 32"/>
                <a:gd name="T6" fmla="*/ 9 w 9"/>
                <a:gd name="T7" fmla="*/ 32 h 32"/>
                <a:gd name="T8" fmla="*/ 0 w 9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6" y="21"/>
                    <a:pt x="3" y="10"/>
                    <a:pt x="0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6" name="任意多边形 305">
              <a:extLst>
                <a:ext uri="{FF2B5EF4-FFF2-40B4-BE49-F238E27FC236}">
                  <a16:creationId xmlns:a16="http://schemas.microsoft.com/office/drawing/2014/main" id="{980F34E6-700B-46EB-A575-66D3A06068D6}"/>
                </a:ext>
              </a:extLst>
            </p:cNvPr>
            <p:cNvSpPr/>
            <p:nvPr/>
          </p:nvSpPr>
          <p:spPr bwMode="auto">
            <a:xfrm>
              <a:off x="5208588" y="4924425"/>
              <a:ext cx="17463" cy="55562"/>
            </a:xfrm>
            <a:custGeom>
              <a:avLst/>
              <a:gdLst>
                <a:gd name="T0" fmla="*/ 0 w 7"/>
                <a:gd name="T1" fmla="*/ 0 h 21"/>
                <a:gd name="T2" fmla="*/ 0 w 7"/>
                <a:gd name="T3" fmla="*/ 0 h 21"/>
                <a:gd name="T4" fmla="*/ 7 w 7"/>
                <a:gd name="T5" fmla="*/ 21 h 21"/>
                <a:gd name="T6" fmla="*/ 0 w 7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4" y="12"/>
                    <a:pt x="0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7" name="任意多边形 306">
              <a:extLst>
                <a:ext uri="{FF2B5EF4-FFF2-40B4-BE49-F238E27FC236}">
                  <a16:creationId xmlns:a16="http://schemas.microsoft.com/office/drawing/2014/main" id="{3A7C88DB-1618-476B-AEC0-2D9B8B1AA516}"/>
                </a:ext>
              </a:extLst>
            </p:cNvPr>
            <p:cNvSpPr/>
            <p:nvPr/>
          </p:nvSpPr>
          <p:spPr bwMode="auto">
            <a:xfrm>
              <a:off x="5205413" y="5208588"/>
              <a:ext cx="20638" cy="12700"/>
            </a:xfrm>
            <a:custGeom>
              <a:avLst/>
              <a:gdLst>
                <a:gd name="T0" fmla="*/ 8 w 8"/>
                <a:gd name="T1" fmla="*/ 0 h 5"/>
                <a:gd name="T2" fmla="*/ 0 w 8"/>
                <a:gd name="T3" fmla="*/ 5 h 5"/>
                <a:gd name="T4" fmla="*/ 1 w 8"/>
                <a:gd name="T5" fmla="*/ 5 h 5"/>
                <a:gd name="T6" fmla="*/ 8 w 8"/>
                <a:gd name="T7" fmla="*/ 1 h 5"/>
                <a:gd name="T8" fmla="*/ 8 w 8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5" y="3"/>
                    <a:pt x="7" y="3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8" name="任意多边形 307">
              <a:extLst>
                <a:ext uri="{FF2B5EF4-FFF2-40B4-BE49-F238E27FC236}">
                  <a16:creationId xmlns:a16="http://schemas.microsoft.com/office/drawing/2014/main" id="{D264642C-C5D4-46B6-8B84-85CBCDABCD21}"/>
                </a:ext>
              </a:extLst>
            </p:cNvPr>
            <p:cNvSpPr/>
            <p:nvPr/>
          </p:nvSpPr>
          <p:spPr bwMode="auto">
            <a:xfrm>
              <a:off x="5226051" y="4979988"/>
              <a:ext cx="0" cy="231775"/>
            </a:xfrm>
            <a:custGeom>
              <a:avLst/>
              <a:gdLst>
                <a:gd name="T0" fmla="*/ 0 h 89"/>
                <a:gd name="T1" fmla="*/ 0 h 89"/>
                <a:gd name="T2" fmla="*/ 88 h 89"/>
                <a:gd name="T3" fmla="*/ 89 h 89"/>
                <a:gd name="T4" fmla="*/ 84 h 89"/>
                <a:gd name="T5" fmla="*/ 0 h 89"/>
                <a:gd name="T6" fmla="*/ 0 h 8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8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8"/>
                    <a:pt x="0" y="86"/>
                    <a:pt x="0" y="84"/>
                  </a:cubicBezTo>
                  <a:cubicBezTo>
                    <a:pt x="0" y="57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477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9" name="任意多边形 308">
              <a:extLst>
                <a:ext uri="{FF2B5EF4-FFF2-40B4-BE49-F238E27FC236}">
                  <a16:creationId xmlns:a16="http://schemas.microsoft.com/office/drawing/2014/main" id="{D72DA8A0-282A-4391-B8EE-CE12C2087886}"/>
                </a:ext>
              </a:extLst>
            </p:cNvPr>
            <p:cNvSpPr/>
            <p:nvPr/>
          </p:nvSpPr>
          <p:spPr bwMode="auto">
            <a:xfrm>
              <a:off x="5046663" y="4637088"/>
              <a:ext cx="179388" cy="584200"/>
            </a:xfrm>
            <a:custGeom>
              <a:avLst/>
              <a:gdLst>
                <a:gd name="T0" fmla="*/ 30 w 69"/>
                <a:gd name="T1" fmla="*/ 0 h 224"/>
                <a:gd name="T2" fmla="*/ 17 w 69"/>
                <a:gd name="T3" fmla="*/ 7 h 224"/>
                <a:gd name="T4" fmla="*/ 0 w 69"/>
                <a:gd name="T5" fmla="*/ 17 h 224"/>
                <a:gd name="T6" fmla="*/ 0 w 69"/>
                <a:gd name="T7" fmla="*/ 17 h 224"/>
                <a:gd name="T8" fmla="*/ 61 w 69"/>
                <a:gd name="T9" fmla="*/ 224 h 224"/>
                <a:gd name="T10" fmla="*/ 69 w 69"/>
                <a:gd name="T11" fmla="*/ 219 h 224"/>
                <a:gd name="T12" fmla="*/ 69 w 69"/>
                <a:gd name="T13" fmla="*/ 131 h 224"/>
                <a:gd name="T14" fmla="*/ 69 w 69"/>
                <a:gd name="T15" fmla="*/ 131 h 224"/>
                <a:gd name="T16" fmla="*/ 62 w 69"/>
                <a:gd name="T17" fmla="*/ 110 h 224"/>
                <a:gd name="T18" fmla="*/ 51 w 69"/>
                <a:gd name="T19" fmla="*/ 71 h 224"/>
                <a:gd name="T20" fmla="*/ 42 w 69"/>
                <a:gd name="T21" fmla="*/ 39 h 224"/>
                <a:gd name="T22" fmla="*/ 30 w 69"/>
                <a:gd name="T2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224">
                  <a:moveTo>
                    <a:pt x="30" y="0"/>
                  </a:moveTo>
                  <a:cubicBezTo>
                    <a:pt x="17" y="7"/>
                    <a:pt x="17" y="7"/>
                    <a:pt x="17" y="7"/>
                  </a:cubicBezTo>
                  <a:cubicBezTo>
                    <a:pt x="12" y="10"/>
                    <a:pt x="6" y="14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1" y="86"/>
                    <a:pt x="41" y="155"/>
                    <a:pt x="61" y="224"/>
                  </a:cubicBezTo>
                  <a:cubicBezTo>
                    <a:pt x="69" y="219"/>
                    <a:pt x="69" y="219"/>
                    <a:pt x="69" y="219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62" y="110"/>
                    <a:pt x="62" y="110"/>
                    <a:pt x="62" y="110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30" y="0"/>
                    <a:pt x="30" y="0"/>
                    <a:pt x="30" y="0"/>
                  </a:cubicBezTo>
                </a:path>
              </a:pathLst>
            </a:custGeom>
            <a:solidFill>
              <a:srgbClr val="751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0" name="任意多边形 309">
              <a:extLst>
                <a:ext uri="{FF2B5EF4-FFF2-40B4-BE49-F238E27FC236}">
                  <a16:creationId xmlns:a16="http://schemas.microsoft.com/office/drawing/2014/main" id="{0FA4E594-8CC1-4937-A327-950259A216BC}"/>
                </a:ext>
              </a:extLst>
            </p:cNvPr>
            <p:cNvSpPr/>
            <p:nvPr/>
          </p:nvSpPr>
          <p:spPr bwMode="auto">
            <a:xfrm>
              <a:off x="5046663" y="4637088"/>
              <a:ext cx="77788" cy="44450"/>
            </a:xfrm>
            <a:custGeom>
              <a:avLst/>
              <a:gdLst>
                <a:gd name="T0" fmla="*/ 0 w 30"/>
                <a:gd name="T1" fmla="*/ 17 h 17"/>
                <a:gd name="T2" fmla="*/ 0 w 30"/>
                <a:gd name="T3" fmla="*/ 17 h 17"/>
                <a:gd name="T4" fmla="*/ 0 w 30"/>
                <a:gd name="T5" fmla="*/ 17 h 17"/>
                <a:gd name="T6" fmla="*/ 30 w 30"/>
                <a:gd name="T7" fmla="*/ 0 h 17"/>
                <a:gd name="T8" fmla="*/ 17 w 30"/>
                <a:gd name="T9" fmla="*/ 7 h 17"/>
                <a:gd name="T10" fmla="*/ 30 w 30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0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moveTo>
                    <a:pt x="30" y="0"/>
                  </a:moveTo>
                  <a:cubicBezTo>
                    <a:pt x="26" y="2"/>
                    <a:pt x="22" y="5"/>
                    <a:pt x="17" y="7"/>
                  </a:cubicBezTo>
                  <a:cubicBezTo>
                    <a:pt x="30" y="0"/>
                    <a:pt x="30" y="0"/>
                    <a:pt x="30" y="0"/>
                  </a:cubicBezTo>
                </a:path>
              </a:pathLst>
            </a:custGeom>
            <a:solidFill>
              <a:srgbClr val="9C59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1" name="任意多边形 310">
              <a:extLst>
                <a:ext uri="{FF2B5EF4-FFF2-40B4-BE49-F238E27FC236}">
                  <a16:creationId xmlns:a16="http://schemas.microsoft.com/office/drawing/2014/main" id="{C42596E2-D052-4A5C-87E5-B786E8FDD1CE}"/>
                </a:ext>
              </a:extLst>
            </p:cNvPr>
            <p:cNvSpPr/>
            <p:nvPr/>
          </p:nvSpPr>
          <p:spPr bwMode="auto">
            <a:xfrm>
              <a:off x="5249863" y="5443538"/>
              <a:ext cx="271463" cy="217487"/>
            </a:xfrm>
            <a:custGeom>
              <a:avLst/>
              <a:gdLst>
                <a:gd name="T0" fmla="*/ 92 w 104"/>
                <a:gd name="T1" fmla="*/ 35 h 83"/>
                <a:gd name="T2" fmla="*/ 64 w 104"/>
                <a:gd name="T3" fmla="*/ 38 h 83"/>
                <a:gd name="T4" fmla="*/ 31 w 104"/>
                <a:gd name="T5" fmla="*/ 52 h 83"/>
                <a:gd name="T6" fmla="*/ 6 w 104"/>
                <a:gd name="T7" fmla="*/ 72 h 83"/>
                <a:gd name="T8" fmla="*/ 6 w 104"/>
                <a:gd name="T9" fmla="*/ 72 h 83"/>
                <a:gd name="T10" fmla="*/ 17 w 104"/>
                <a:gd name="T11" fmla="*/ 81 h 83"/>
                <a:gd name="T12" fmla="*/ 22 w 104"/>
                <a:gd name="T13" fmla="*/ 83 h 83"/>
                <a:gd name="T14" fmla="*/ 41 w 104"/>
                <a:gd name="T15" fmla="*/ 61 h 83"/>
                <a:gd name="T16" fmla="*/ 84 w 104"/>
                <a:gd name="T17" fmla="*/ 39 h 83"/>
                <a:gd name="T18" fmla="*/ 104 w 104"/>
                <a:gd name="T19" fmla="*/ 35 h 83"/>
                <a:gd name="T20" fmla="*/ 104 w 104"/>
                <a:gd name="T21" fmla="*/ 35 h 83"/>
                <a:gd name="T22" fmla="*/ 102 w 104"/>
                <a:gd name="T23" fmla="*/ 35 h 83"/>
                <a:gd name="T24" fmla="*/ 92 w 104"/>
                <a:gd name="T25" fmla="*/ 35 h 83"/>
                <a:gd name="T26" fmla="*/ 64 w 104"/>
                <a:gd name="T27" fmla="*/ 4 h 83"/>
                <a:gd name="T28" fmla="*/ 64 w 104"/>
                <a:gd name="T29" fmla="*/ 4 h 83"/>
                <a:gd name="T30" fmla="*/ 31 w 104"/>
                <a:gd name="T31" fmla="*/ 18 h 83"/>
                <a:gd name="T32" fmla="*/ 3 w 104"/>
                <a:gd name="T33" fmla="*/ 40 h 83"/>
                <a:gd name="T34" fmla="*/ 0 w 104"/>
                <a:gd name="T35" fmla="*/ 45 h 83"/>
                <a:gd name="T36" fmla="*/ 0 w 104"/>
                <a:gd name="T37" fmla="*/ 45 h 83"/>
                <a:gd name="T38" fmla="*/ 3 w 104"/>
                <a:gd name="T39" fmla="*/ 40 h 83"/>
                <a:gd name="T40" fmla="*/ 31 w 104"/>
                <a:gd name="T41" fmla="*/ 18 h 83"/>
                <a:gd name="T42" fmla="*/ 64 w 104"/>
                <a:gd name="T43" fmla="*/ 4 h 83"/>
                <a:gd name="T44" fmla="*/ 64 w 104"/>
                <a:gd name="T45" fmla="*/ 4 h 83"/>
                <a:gd name="T46" fmla="*/ 65 w 104"/>
                <a:gd name="T47" fmla="*/ 4 h 83"/>
                <a:gd name="T48" fmla="*/ 65 w 104"/>
                <a:gd name="T49" fmla="*/ 4 h 83"/>
                <a:gd name="T50" fmla="*/ 65 w 104"/>
                <a:gd name="T51" fmla="*/ 4 h 83"/>
                <a:gd name="T52" fmla="*/ 65 w 104"/>
                <a:gd name="T53" fmla="*/ 4 h 83"/>
                <a:gd name="T54" fmla="*/ 65 w 104"/>
                <a:gd name="T55" fmla="*/ 4 h 83"/>
                <a:gd name="T56" fmla="*/ 65 w 104"/>
                <a:gd name="T57" fmla="*/ 4 h 83"/>
                <a:gd name="T58" fmla="*/ 92 w 104"/>
                <a:gd name="T59" fmla="*/ 0 h 83"/>
                <a:gd name="T60" fmla="*/ 65 w 104"/>
                <a:gd name="T61" fmla="*/ 4 h 83"/>
                <a:gd name="T62" fmla="*/ 92 w 104"/>
                <a:gd name="T63" fmla="*/ 0 h 83"/>
                <a:gd name="T64" fmla="*/ 92 w 104"/>
                <a:gd name="T65" fmla="*/ 0 h 83"/>
                <a:gd name="T66" fmla="*/ 92 w 104"/>
                <a:gd name="T67" fmla="*/ 0 h 83"/>
                <a:gd name="T68" fmla="*/ 92 w 104"/>
                <a:gd name="T69" fmla="*/ 0 h 83"/>
                <a:gd name="T70" fmla="*/ 92 w 104"/>
                <a:gd name="T7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4" h="83">
                  <a:moveTo>
                    <a:pt x="92" y="35"/>
                  </a:moveTo>
                  <a:cubicBezTo>
                    <a:pt x="83" y="35"/>
                    <a:pt x="73" y="36"/>
                    <a:pt x="64" y="38"/>
                  </a:cubicBezTo>
                  <a:cubicBezTo>
                    <a:pt x="52" y="42"/>
                    <a:pt x="41" y="47"/>
                    <a:pt x="31" y="52"/>
                  </a:cubicBezTo>
                  <a:cubicBezTo>
                    <a:pt x="20" y="59"/>
                    <a:pt x="11" y="65"/>
                    <a:pt x="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9" y="75"/>
                    <a:pt x="12" y="78"/>
                    <a:pt x="17" y="81"/>
                  </a:cubicBezTo>
                  <a:cubicBezTo>
                    <a:pt x="19" y="82"/>
                    <a:pt x="20" y="82"/>
                    <a:pt x="22" y="83"/>
                  </a:cubicBezTo>
                  <a:cubicBezTo>
                    <a:pt x="26" y="74"/>
                    <a:pt x="33" y="67"/>
                    <a:pt x="41" y="61"/>
                  </a:cubicBezTo>
                  <a:cubicBezTo>
                    <a:pt x="54" y="51"/>
                    <a:pt x="68" y="44"/>
                    <a:pt x="84" y="39"/>
                  </a:cubicBezTo>
                  <a:cubicBezTo>
                    <a:pt x="90" y="38"/>
                    <a:pt x="97" y="37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3" y="35"/>
                    <a:pt x="102" y="35"/>
                  </a:cubicBezTo>
                  <a:cubicBezTo>
                    <a:pt x="99" y="35"/>
                    <a:pt x="96" y="35"/>
                    <a:pt x="92" y="35"/>
                  </a:cubicBezTo>
                  <a:moveTo>
                    <a:pt x="64" y="4"/>
                  </a:moveTo>
                  <a:cubicBezTo>
                    <a:pt x="64" y="4"/>
                    <a:pt x="64" y="4"/>
                    <a:pt x="64" y="4"/>
                  </a:cubicBezTo>
                  <a:cubicBezTo>
                    <a:pt x="52" y="8"/>
                    <a:pt x="41" y="12"/>
                    <a:pt x="31" y="18"/>
                  </a:cubicBezTo>
                  <a:cubicBezTo>
                    <a:pt x="18" y="25"/>
                    <a:pt x="9" y="33"/>
                    <a:pt x="3" y="40"/>
                  </a:cubicBezTo>
                  <a:cubicBezTo>
                    <a:pt x="2" y="42"/>
                    <a:pt x="1" y="44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" y="44"/>
                    <a:pt x="2" y="42"/>
                    <a:pt x="3" y="40"/>
                  </a:cubicBezTo>
                  <a:cubicBezTo>
                    <a:pt x="9" y="33"/>
                    <a:pt x="18" y="25"/>
                    <a:pt x="31" y="18"/>
                  </a:cubicBezTo>
                  <a:cubicBezTo>
                    <a:pt x="41" y="12"/>
                    <a:pt x="52" y="8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moveTo>
                    <a:pt x="65" y="4"/>
                  </a:move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moveTo>
                    <a:pt x="65" y="4"/>
                  </a:move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moveTo>
                    <a:pt x="92" y="0"/>
                  </a:moveTo>
                  <a:cubicBezTo>
                    <a:pt x="83" y="0"/>
                    <a:pt x="74" y="1"/>
                    <a:pt x="65" y="4"/>
                  </a:cubicBezTo>
                  <a:cubicBezTo>
                    <a:pt x="74" y="1"/>
                    <a:pt x="83" y="0"/>
                    <a:pt x="92" y="0"/>
                  </a:cubicBezTo>
                  <a:moveTo>
                    <a:pt x="92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2" name="任意多边形 311">
              <a:extLst>
                <a:ext uri="{FF2B5EF4-FFF2-40B4-BE49-F238E27FC236}">
                  <a16:creationId xmlns:a16="http://schemas.microsoft.com/office/drawing/2014/main" id="{2026AF78-81FB-42E2-B95E-E41C38B965B8}"/>
                </a:ext>
              </a:extLst>
            </p:cNvPr>
            <p:cNvSpPr/>
            <p:nvPr/>
          </p:nvSpPr>
          <p:spPr bwMode="auto">
            <a:xfrm>
              <a:off x="5245101" y="5443538"/>
              <a:ext cx="276225" cy="187325"/>
            </a:xfrm>
            <a:custGeom>
              <a:avLst/>
              <a:gdLst>
                <a:gd name="T0" fmla="*/ 94 w 106"/>
                <a:gd name="T1" fmla="*/ 0 h 72"/>
                <a:gd name="T2" fmla="*/ 94 w 106"/>
                <a:gd name="T3" fmla="*/ 0 h 72"/>
                <a:gd name="T4" fmla="*/ 67 w 106"/>
                <a:gd name="T5" fmla="*/ 4 h 72"/>
                <a:gd name="T6" fmla="*/ 67 w 106"/>
                <a:gd name="T7" fmla="*/ 4 h 72"/>
                <a:gd name="T8" fmla="*/ 67 w 106"/>
                <a:gd name="T9" fmla="*/ 4 h 72"/>
                <a:gd name="T10" fmla="*/ 67 w 106"/>
                <a:gd name="T11" fmla="*/ 4 h 72"/>
                <a:gd name="T12" fmla="*/ 67 w 106"/>
                <a:gd name="T13" fmla="*/ 4 h 72"/>
                <a:gd name="T14" fmla="*/ 66 w 106"/>
                <a:gd name="T15" fmla="*/ 4 h 72"/>
                <a:gd name="T16" fmla="*/ 66 w 106"/>
                <a:gd name="T17" fmla="*/ 4 h 72"/>
                <a:gd name="T18" fmla="*/ 33 w 106"/>
                <a:gd name="T19" fmla="*/ 18 h 72"/>
                <a:gd name="T20" fmla="*/ 5 w 106"/>
                <a:gd name="T21" fmla="*/ 40 h 72"/>
                <a:gd name="T22" fmla="*/ 2 w 106"/>
                <a:gd name="T23" fmla="*/ 45 h 72"/>
                <a:gd name="T24" fmla="*/ 0 w 106"/>
                <a:gd name="T25" fmla="*/ 51 h 72"/>
                <a:gd name="T26" fmla="*/ 0 w 106"/>
                <a:gd name="T27" fmla="*/ 55 h 72"/>
                <a:gd name="T28" fmla="*/ 1 w 106"/>
                <a:gd name="T29" fmla="*/ 62 h 72"/>
                <a:gd name="T30" fmla="*/ 2 w 106"/>
                <a:gd name="T31" fmla="*/ 63 h 72"/>
                <a:gd name="T32" fmla="*/ 2 w 106"/>
                <a:gd name="T33" fmla="*/ 63 h 72"/>
                <a:gd name="T34" fmla="*/ 5 w 106"/>
                <a:gd name="T35" fmla="*/ 69 h 72"/>
                <a:gd name="T36" fmla="*/ 8 w 106"/>
                <a:gd name="T37" fmla="*/ 72 h 72"/>
                <a:gd name="T38" fmla="*/ 8 w 106"/>
                <a:gd name="T39" fmla="*/ 72 h 72"/>
                <a:gd name="T40" fmla="*/ 33 w 106"/>
                <a:gd name="T41" fmla="*/ 52 h 72"/>
                <a:gd name="T42" fmla="*/ 66 w 106"/>
                <a:gd name="T43" fmla="*/ 38 h 72"/>
                <a:gd name="T44" fmla="*/ 94 w 106"/>
                <a:gd name="T45" fmla="*/ 35 h 72"/>
                <a:gd name="T46" fmla="*/ 104 w 106"/>
                <a:gd name="T47" fmla="*/ 35 h 72"/>
                <a:gd name="T48" fmla="*/ 106 w 106"/>
                <a:gd name="T49" fmla="*/ 35 h 72"/>
                <a:gd name="T50" fmla="*/ 101 w 106"/>
                <a:gd name="T51" fmla="*/ 18 h 72"/>
                <a:gd name="T52" fmla="*/ 102 w 106"/>
                <a:gd name="T53" fmla="*/ 0 h 72"/>
                <a:gd name="T54" fmla="*/ 94 w 106"/>
                <a:gd name="T55" fmla="*/ 0 h 72"/>
                <a:gd name="T56" fmla="*/ 94 w 106"/>
                <a:gd name="T5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6" h="72">
                  <a:moveTo>
                    <a:pt x="94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85" y="0"/>
                    <a:pt x="76" y="1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6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54" y="8"/>
                    <a:pt x="43" y="12"/>
                    <a:pt x="33" y="18"/>
                  </a:cubicBezTo>
                  <a:cubicBezTo>
                    <a:pt x="20" y="25"/>
                    <a:pt x="11" y="33"/>
                    <a:pt x="5" y="40"/>
                  </a:cubicBezTo>
                  <a:cubicBezTo>
                    <a:pt x="4" y="42"/>
                    <a:pt x="3" y="44"/>
                    <a:pt x="2" y="45"/>
                  </a:cubicBezTo>
                  <a:cubicBezTo>
                    <a:pt x="1" y="47"/>
                    <a:pt x="0" y="49"/>
                    <a:pt x="0" y="51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0" y="57"/>
                    <a:pt x="0" y="60"/>
                    <a:pt x="1" y="62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3" y="65"/>
                    <a:pt x="4" y="67"/>
                    <a:pt x="5" y="69"/>
                  </a:cubicBezTo>
                  <a:cubicBezTo>
                    <a:pt x="6" y="70"/>
                    <a:pt x="7" y="71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13" y="65"/>
                    <a:pt x="22" y="59"/>
                    <a:pt x="33" y="52"/>
                  </a:cubicBezTo>
                  <a:cubicBezTo>
                    <a:pt x="43" y="47"/>
                    <a:pt x="54" y="42"/>
                    <a:pt x="66" y="38"/>
                  </a:cubicBezTo>
                  <a:cubicBezTo>
                    <a:pt x="75" y="36"/>
                    <a:pt x="85" y="35"/>
                    <a:pt x="94" y="35"/>
                  </a:cubicBezTo>
                  <a:cubicBezTo>
                    <a:pt x="98" y="35"/>
                    <a:pt x="101" y="35"/>
                    <a:pt x="104" y="35"/>
                  </a:cubicBezTo>
                  <a:cubicBezTo>
                    <a:pt x="105" y="35"/>
                    <a:pt x="106" y="35"/>
                    <a:pt x="106" y="35"/>
                  </a:cubicBezTo>
                  <a:cubicBezTo>
                    <a:pt x="105" y="30"/>
                    <a:pt x="101" y="24"/>
                    <a:pt x="101" y="18"/>
                  </a:cubicBezTo>
                  <a:cubicBezTo>
                    <a:pt x="102" y="12"/>
                    <a:pt x="102" y="6"/>
                    <a:pt x="102" y="0"/>
                  </a:cubicBezTo>
                  <a:cubicBezTo>
                    <a:pt x="99" y="0"/>
                    <a:pt x="97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</a:path>
              </a:pathLst>
            </a:custGeom>
            <a:solidFill>
              <a:srgbClr val="751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3" name="任意多边形 312">
              <a:extLst>
                <a:ext uri="{FF2B5EF4-FFF2-40B4-BE49-F238E27FC236}">
                  <a16:creationId xmlns:a16="http://schemas.microsoft.com/office/drawing/2014/main" id="{9D9BB875-6DC3-46E8-9BA1-4C695F22410E}"/>
                </a:ext>
              </a:extLst>
            </p:cNvPr>
            <p:cNvSpPr/>
            <p:nvPr/>
          </p:nvSpPr>
          <p:spPr bwMode="auto">
            <a:xfrm>
              <a:off x="5241926" y="5443538"/>
              <a:ext cx="268288" cy="211137"/>
            </a:xfrm>
            <a:custGeom>
              <a:avLst/>
              <a:gdLst>
                <a:gd name="T0" fmla="*/ 6 w 103"/>
                <a:gd name="T1" fmla="*/ 69 h 81"/>
                <a:gd name="T2" fmla="*/ 20 w 103"/>
                <a:gd name="T3" fmla="*/ 81 h 81"/>
                <a:gd name="T4" fmla="*/ 9 w 103"/>
                <a:gd name="T5" fmla="*/ 72 h 81"/>
                <a:gd name="T6" fmla="*/ 9 w 103"/>
                <a:gd name="T7" fmla="*/ 72 h 81"/>
                <a:gd name="T8" fmla="*/ 6 w 103"/>
                <a:gd name="T9" fmla="*/ 69 h 81"/>
                <a:gd name="T10" fmla="*/ 1 w 103"/>
                <a:gd name="T11" fmla="*/ 51 h 81"/>
                <a:gd name="T12" fmla="*/ 3 w 103"/>
                <a:gd name="T13" fmla="*/ 63 h 81"/>
                <a:gd name="T14" fmla="*/ 2 w 103"/>
                <a:gd name="T15" fmla="*/ 62 h 81"/>
                <a:gd name="T16" fmla="*/ 1 w 103"/>
                <a:gd name="T17" fmla="*/ 55 h 81"/>
                <a:gd name="T18" fmla="*/ 1 w 103"/>
                <a:gd name="T19" fmla="*/ 55 h 81"/>
                <a:gd name="T20" fmla="*/ 1 w 103"/>
                <a:gd name="T21" fmla="*/ 51 h 81"/>
                <a:gd name="T22" fmla="*/ 96 w 103"/>
                <a:gd name="T23" fmla="*/ 0 h 81"/>
                <a:gd name="T24" fmla="*/ 83 w 103"/>
                <a:gd name="T25" fmla="*/ 1 h 81"/>
                <a:gd name="T26" fmla="*/ 17 w 103"/>
                <a:gd name="T27" fmla="*/ 30 h 81"/>
                <a:gd name="T28" fmla="*/ 4 w 103"/>
                <a:gd name="T29" fmla="*/ 44 h 81"/>
                <a:gd name="T30" fmla="*/ 3 w 103"/>
                <a:gd name="T31" fmla="*/ 45 h 81"/>
                <a:gd name="T32" fmla="*/ 6 w 103"/>
                <a:gd name="T33" fmla="*/ 40 h 81"/>
                <a:gd name="T34" fmla="*/ 34 w 103"/>
                <a:gd name="T35" fmla="*/ 18 h 81"/>
                <a:gd name="T36" fmla="*/ 67 w 103"/>
                <a:gd name="T37" fmla="*/ 4 h 81"/>
                <a:gd name="T38" fmla="*/ 67 w 103"/>
                <a:gd name="T39" fmla="*/ 4 h 81"/>
                <a:gd name="T40" fmla="*/ 68 w 103"/>
                <a:gd name="T41" fmla="*/ 4 h 81"/>
                <a:gd name="T42" fmla="*/ 68 w 103"/>
                <a:gd name="T43" fmla="*/ 4 h 81"/>
                <a:gd name="T44" fmla="*/ 68 w 103"/>
                <a:gd name="T45" fmla="*/ 4 h 81"/>
                <a:gd name="T46" fmla="*/ 68 w 103"/>
                <a:gd name="T47" fmla="*/ 4 h 81"/>
                <a:gd name="T48" fmla="*/ 68 w 103"/>
                <a:gd name="T49" fmla="*/ 4 h 81"/>
                <a:gd name="T50" fmla="*/ 95 w 103"/>
                <a:gd name="T51" fmla="*/ 0 h 81"/>
                <a:gd name="T52" fmla="*/ 95 w 103"/>
                <a:gd name="T53" fmla="*/ 0 h 81"/>
                <a:gd name="T54" fmla="*/ 95 w 103"/>
                <a:gd name="T55" fmla="*/ 0 h 81"/>
                <a:gd name="T56" fmla="*/ 95 w 103"/>
                <a:gd name="T57" fmla="*/ 0 h 81"/>
                <a:gd name="T58" fmla="*/ 103 w 103"/>
                <a:gd name="T59" fmla="*/ 0 h 81"/>
                <a:gd name="T60" fmla="*/ 103 w 103"/>
                <a:gd name="T61" fmla="*/ 0 h 81"/>
                <a:gd name="T62" fmla="*/ 96 w 103"/>
                <a:gd name="T6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3" h="81">
                  <a:moveTo>
                    <a:pt x="6" y="69"/>
                  </a:moveTo>
                  <a:cubicBezTo>
                    <a:pt x="10" y="74"/>
                    <a:pt x="15" y="77"/>
                    <a:pt x="20" y="81"/>
                  </a:cubicBezTo>
                  <a:cubicBezTo>
                    <a:pt x="15" y="78"/>
                    <a:pt x="12" y="75"/>
                    <a:pt x="9" y="72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8" y="71"/>
                    <a:pt x="7" y="70"/>
                    <a:pt x="6" y="69"/>
                  </a:cubicBezTo>
                  <a:moveTo>
                    <a:pt x="1" y="51"/>
                  </a:moveTo>
                  <a:cubicBezTo>
                    <a:pt x="0" y="55"/>
                    <a:pt x="1" y="59"/>
                    <a:pt x="3" y="63"/>
                  </a:cubicBezTo>
                  <a:cubicBezTo>
                    <a:pt x="3" y="63"/>
                    <a:pt x="3" y="63"/>
                    <a:pt x="2" y="62"/>
                  </a:cubicBezTo>
                  <a:cubicBezTo>
                    <a:pt x="1" y="60"/>
                    <a:pt x="1" y="57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4"/>
                    <a:pt x="1" y="53"/>
                    <a:pt x="1" y="51"/>
                  </a:cubicBezTo>
                  <a:moveTo>
                    <a:pt x="96" y="0"/>
                  </a:moveTo>
                  <a:cubicBezTo>
                    <a:pt x="91" y="0"/>
                    <a:pt x="87" y="0"/>
                    <a:pt x="83" y="1"/>
                  </a:cubicBezTo>
                  <a:cubicBezTo>
                    <a:pt x="58" y="4"/>
                    <a:pt x="36" y="14"/>
                    <a:pt x="17" y="30"/>
                  </a:cubicBezTo>
                  <a:cubicBezTo>
                    <a:pt x="12" y="34"/>
                    <a:pt x="7" y="38"/>
                    <a:pt x="4" y="44"/>
                  </a:cubicBezTo>
                  <a:cubicBezTo>
                    <a:pt x="4" y="44"/>
                    <a:pt x="3" y="45"/>
                    <a:pt x="3" y="45"/>
                  </a:cubicBezTo>
                  <a:cubicBezTo>
                    <a:pt x="4" y="44"/>
                    <a:pt x="5" y="42"/>
                    <a:pt x="6" y="40"/>
                  </a:cubicBezTo>
                  <a:cubicBezTo>
                    <a:pt x="12" y="33"/>
                    <a:pt x="21" y="25"/>
                    <a:pt x="34" y="18"/>
                  </a:cubicBezTo>
                  <a:cubicBezTo>
                    <a:pt x="44" y="12"/>
                    <a:pt x="55" y="8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7" y="1"/>
                    <a:pt x="86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8" y="0"/>
                    <a:pt x="100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0" y="0"/>
                    <a:pt x="98" y="0"/>
                    <a:pt x="96" y="0"/>
                  </a:cubicBezTo>
                </a:path>
              </a:pathLst>
            </a:custGeom>
            <a:solidFill>
              <a:srgbClr val="9C59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4" name="任意多边形 313">
              <a:extLst>
                <a:ext uri="{FF2B5EF4-FFF2-40B4-BE49-F238E27FC236}">
                  <a16:creationId xmlns:a16="http://schemas.microsoft.com/office/drawing/2014/main" id="{47E9CFB8-2674-41B5-84C3-A2B1A1AE4EE4}"/>
                </a:ext>
              </a:extLst>
            </p:cNvPr>
            <p:cNvSpPr/>
            <p:nvPr/>
          </p:nvSpPr>
          <p:spPr bwMode="auto">
            <a:xfrm>
              <a:off x="4900613" y="4932363"/>
              <a:ext cx="65088" cy="104775"/>
            </a:xfrm>
            <a:custGeom>
              <a:avLst/>
              <a:gdLst>
                <a:gd name="T0" fmla="*/ 15 w 25"/>
                <a:gd name="T1" fmla="*/ 0 h 40"/>
                <a:gd name="T2" fmla="*/ 0 w 25"/>
                <a:gd name="T3" fmla="*/ 40 h 40"/>
                <a:gd name="T4" fmla="*/ 15 w 25"/>
                <a:gd name="T5" fmla="*/ 0 h 40"/>
                <a:gd name="T6" fmla="*/ 25 w 25"/>
                <a:gd name="T7" fmla="*/ 6 h 40"/>
                <a:gd name="T8" fmla="*/ 15 w 25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0">
                  <a:moveTo>
                    <a:pt x="15" y="0"/>
                  </a:moveTo>
                  <a:cubicBezTo>
                    <a:pt x="10" y="13"/>
                    <a:pt x="5" y="27"/>
                    <a:pt x="0" y="4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2" y="4"/>
                    <a:pt x="19" y="2"/>
                    <a:pt x="15" y="0"/>
                  </a:cubicBezTo>
                </a:path>
              </a:pathLst>
            </a:custGeom>
            <a:solidFill>
              <a:srgbClr val="912D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5" name="任意多边形 314">
              <a:extLst>
                <a:ext uri="{FF2B5EF4-FFF2-40B4-BE49-F238E27FC236}">
                  <a16:creationId xmlns:a16="http://schemas.microsoft.com/office/drawing/2014/main" id="{351A2B42-5B68-4DFB-AE8A-A945C1BA55D7}"/>
                </a:ext>
              </a:extLst>
            </p:cNvPr>
            <p:cNvSpPr/>
            <p:nvPr/>
          </p:nvSpPr>
          <p:spPr bwMode="auto">
            <a:xfrm>
              <a:off x="4897438" y="4960938"/>
              <a:ext cx="231775" cy="165100"/>
            </a:xfrm>
            <a:custGeom>
              <a:avLst/>
              <a:gdLst>
                <a:gd name="T0" fmla="*/ 35 w 89"/>
                <a:gd name="T1" fmla="*/ 0 h 63"/>
                <a:gd name="T2" fmla="*/ 30 w 89"/>
                <a:gd name="T3" fmla="*/ 14 h 63"/>
                <a:gd name="T4" fmla="*/ 0 w 89"/>
                <a:gd name="T5" fmla="*/ 31 h 63"/>
                <a:gd name="T6" fmla="*/ 0 w 89"/>
                <a:gd name="T7" fmla="*/ 32 h 63"/>
                <a:gd name="T8" fmla="*/ 1 w 89"/>
                <a:gd name="T9" fmla="*/ 32 h 63"/>
                <a:gd name="T10" fmla="*/ 45 w 89"/>
                <a:gd name="T11" fmla="*/ 40 h 63"/>
                <a:gd name="T12" fmla="*/ 58 w 89"/>
                <a:gd name="T13" fmla="*/ 45 h 63"/>
                <a:gd name="T14" fmla="*/ 75 w 89"/>
                <a:gd name="T15" fmla="*/ 55 h 63"/>
                <a:gd name="T16" fmla="*/ 89 w 89"/>
                <a:gd name="T17" fmla="*/ 63 h 63"/>
                <a:gd name="T18" fmla="*/ 82 w 89"/>
                <a:gd name="T19" fmla="*/ 36 h 63"/>
                <a:gd name="T20" fmla="*/ 68 w 89"/>
                <a:gd name="T21" fmla="*/ 19 h 63"/>
                <a:gd name="T22" fmla="*/ 37 w 89"/>
                <a:gd name="T23" fmla="*/ 8 h 63"/>
                <a:gd name="T24" fmla="*/ 33 w 89"/>
                <a:gd name="T25" fmla="*/ 7 h 63"/>
                <a:gd name="T26" fmla="*/ 35 w 89"/>
                <a:gd name="T2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9" h="63">
                  <a:moveTo>
                    <a:pt x="35" y="0"/>
                  </a:moveTo>
                  <a:cubicBezTo>
                    <a:pt x="30" y="14"/>
                    <a:pt x="30" y="14"/>
                    <a:pt x="30" y="14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6" y="35"/>
                    <a:pt x="31" y="38"/>
                    <a:pt x="45" y="40"/>
                  </a:cubicBezTo>
                  <a:cubicBezTo>
                    <a:pt x="50" y="41"/>
                    <a:pt x="54" y="42"/>
                    <a:pt x="58" y="45"/>
                  </a:cubicBezTo>
                  <a:cubicBezTo>
                    <a:pt x="64" y="48"/>
                    <a:pt x="70" y="51"/>
                    <a:pt x="75" y="55"/>
                  </a:cubicBezTo>
                  <a:cubicBezTo>
                    <a:pt x="79" y="57"/>
                    <a:pt x="84" y="60"/>
                    <a:pt x="89" y="6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79" y="28"/>
                    <a:pt x="75" y="23"/>
                    <a:pt x="68" y="19"/>
                  </a:cubicBezTo>
                  <a:cubicBezTo>
                    <a:pt x="58" y="14"/>
                    <a:pt x="48" y="9"/>
                    <a:pt x="37" y="8"/>
                  </a:cubicBezTo>
                  <a:cubicBezTo>
                    <a:pt x="36" y="8"/>
                    <a:pt x="34" y="7"/>
                    <a:pt x="33" y="7"/>
                  </a:cubicBezTo>
                  <a:cubicBezTo>
                    <a:pt x="33" y="4"/>
                    <a:pt x="35" y="2"/>
                    <a:pt x="35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6" name="任意多边形 315">
              <a:extLst>
                <a:ext uri="{FF2B5EF4-FFF2-40B4-BE49-F238E27FC236}">
                  <a16:creationId xmlns:a16="http://schemas.microsoft.com/office/drawing/2014/main" id="{AC6F8974-F25E-4C3A-8555-34218071AFBB}"/>
                </a:ext>
              </a:extLst>
            </p:cNvPr>
            <p:cNvSpPr/>
            <p:nvPr/>
          </p:nvSpPr>
          <p:spPr bwMode="auto">
            <a:xfrm>
              <a:off x="5111751" y="5054600"/>
              <a:ext cx="17463" cy="71437"/>
            </a:xfrm>
            <a:custGeom>
              <a:avLst/>
              <a:gdLst>
                <a:gd name="T0" fmla="*/ 0 w 7"/>
                <a:gd name="T1" fmla="*/ 0 h 27"/>
                <a:gd name="T2" fmla="*/ 7 w 7"/>
                <a:gd name="T3" fmla="*/ 27 h 27"/>
                <a:gd name="T4" fmla="*/ 7 w 7"/>
                <a:gd name="T5" fmla="*/ 27 h 27"/>
                <a:gd name="T6" fmla="*/ 4 w 7"/>
                <a:gd name="T7" fmla="*/ 15 h 27"/>
                <a:gd name="T8" fmla="*/ 0 w 7"/>
                <a:gd name="T9" fmla="*/ 1 h 27"/>
                <a:gd name="T10" fmla="*/ 0 w 7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27">
                  <a:moveTo>
                    <a:pt x="0" y="0"/>
                  </a:move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4"/>
                    <a:pt x="4" y="17"/>
                    <a:pt x="4" y="15"/>
                  </a:cubicBezTo>
                  <a:cubicBezTo>
                    <a:pt x="2" y="9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solidFill>
              <a:srgbClr val="912D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7" name="任意多边形 316">
              <a:extLst>
                <a:ext uri="{FF2B5EF4-FFF2-40B4-BE49-F238E27FC236}">
                  <a16:creationId xmlns:a16="http://schemas.microsoft.com/office/drawing/2014/main" id="{3111809F-E5BC-497A-A3E0-DE5A2318A14E}"/>
                </a:ext>
              </a:extLst>
            </p:cNvPr>
            <p:cNvSpPr/>
            <p:nvPr/>
          </p:nvSpPr>
          <p:spPr bwMode="auto">
            <a:xfrm>
              <a:off x="4897438" y="4932363"/>
              <a:ext cx="92075" cy="109537"/>
            </a:xfrm>
            <a:custGeom>
              <a:avLst/>
              <a:gdLst>
                <a:gd name="T0" fmla="*/ 16 w 35"/>
                <a:gd name="T1" fmla="*/ 0 h 42"/>
                <a:gd name="T2" fmla="*/ 1 w 35"/>
                <a:gd name="T3" fmla="*/ 40 h 42"/>
                <a:gd name="T4" fmla="*/ 0 w 35"/>
                <a:gd name="T5" fmla="*/ 42 h 42"/>
                <a:gd name="T6" fmla="*/ 30 w 35"/>
                <a:gd name="T7" fmla="*/ 25 h 42"/>
                <a:gd name="T8" fmla="*/ 35 w 35"/>
                <a:gd name="T9" fmla="*/ 11 h 42"/>
                <a:gd name="T10" fmla="*/ 35 w 35"/>
                <a:gd name="T11" fmla="*/ 11 h 42"/>
                <a:gd name="T12" fmla="*/ 26 w 35"/>
                <a:gd name="T13" fmla="*/ 6 h 42"/>
                <a:gd name="T14" fmla="*/ 16 w 35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2">
                  <a:moveTo>
                    <a:pt x="16" y="0"/>
                  </a:move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0" y="42"/>
                    <a:pt x="0" y="42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2" y="9"/>
                    <a:pt x="29" y="7"/>
                    <a:pt x="26" y="6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751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8" name="任意多边形 317">
              <a:extLst>
                <a:ext uri="{FF2B5EF4-FFF2-40B4-BE49-F238E27FC236}">
                  <a16:creationId xmlns:a16="http://schemas.microsoft.com/office/drawing/2014/main" id="{BE563B8E-8A55-44F2-9D78-5457BFF5DF63}"/>
                </a:ext>
              </a:extLst>
            </p:cNvPr>
            <p:cNvSpPr/>
            <p:nvPr/>
          </p:nvSpPr>
          <p:spPr bwMode="auto">
            <a:xfrm>
              <a:off x="5416551" y="5702300"/>
              <a:ext cx="190500" cy="111125"/>
            </a:xfrm>
            <a:custGeom>
              <a:avLst/>
              <a:gdLst>
                <a:gd name="T0" fmla="*/ 0 w 73"/>
                <a:gd name="T1" fmla="*/ 8 h 43"/>
                <a:gd name="T2" fmla="*/ 0 w 73"/>
                <a:gd name="T3" fmla="*/ 8 h 43"/>
                <a:gd name="T4" fmla="*/ 0 w 73"/>
                <a:gd name="T5" fmla="*/ 8 h 43"/>
                <a:gd name="T6" fmla="*/ 0 w 73"/>
                <a:gd name="T7" fmla="*/ 8 h 43"/>
                <a:gd name="T8" fmla="*/ 24 w 73"/>
                <a:gd name="T9" fmla="*/ 6 h 43"/>
                <a:gd name="T10" fmla="*/ 24 w 73"/>
                <a:gd name="T11" fmla="*/ 6 h 43"/>
                <a:gd name="T12" fmla="*/ 0 w 73"/>
                <a:gd name="T13" fmla="*/ 8 h 43"/>
                <a:gd name="T14" fmla="*/ 24 w 73"/>
                <a:gd name="T15" fmla="*/ 6 h 43"/>
                <a:gd name="T16" fmla="*/ 50 w 73"/>
                <a:gd name="T17" fmla="*/ 0 h 43"/>
                <a:gd name="T18" fmla="*/ 50 w 73"/>
                <a:gd name="T19" fmla="*/ 0 h 43"/>
                <a:gd name="T20" fmla="*/ 50 w 73"/>
                <a:gd name="T21" fmla="*/ 34 h 43"/>
                <a:gd name="T22" fmla="*/ 4 w 73"/>
                <a:gd name="T23" fmla="*/ 43 h 43"/>
                <a:gd name="T24" fmla="*/ 14 w 73"/>
                <a:gd name="T25" fmla="*/ 43 h 43"/>
                <a:gd name="T26" fmla="*/ 73 w 73"/>
                <a:gd name="T27" fmla="*/ 34 h 43"/>
                <a:gd name="T28" fmla="*/ 64 w 73"/>
                <a:gd name="T29" fmla="*/ 24 h 43"/>
                <a:gd name="T30" fmla="*/ 55 w 73"/>
                <a:gd name="T31" fmla="*/ 19 h 43"/>
                <a:gd name="T32" fmla="*/ 54 w 73"/>
                <a:gd name="T33" fmla="*/ 20 h 43"/>
                <a:gd name="T34" fmla="*/ 53 w 73"/>
                <a:gd name="T35" fmla="*/ 20 h 43"/>
                <a:gd name="T36" fmla="*/ 50 w 73"/>
                <a:gd name="T37" fmla="*/ 19 h 43"/>
                <a:gd name="T38" fmla="*/ 50 w 73"/>
                <a:gd name="T3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3" h="43"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moveTo>
                    <a:pt x="24" y="6"/>
                  </a:moveTo>
                  <a:cubicBezTo>
                    <a:pt x="24" y="6"/>
                    <a:pt x="24" y="6"/>
                    <a:pt x="24" y="6"/>
                  </a:cubicBezTo>
                  <a:cubicBezTo>
                    <a:pt x="15" y="8"/>
                    <a:pt x="7" y="8"/>
                    <a:pt x="0" y="8"/>
                  </a:cubicBezTo>
                  <a:cubicBezTo>
                    <a:pt x="7" y="8"/>
                    <a:pt x="15" y="8"/>
                    <a:pt x="24" y="6"/>
                  </a:cubicBezTo>
                  <a:moveTo>
                    <a:pt x="50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34" y="39"/>
                    <a:pt x="19" y="42"/>
                    <a:pt x="4" y="43"/>
                  </a:cubicBezTo>
                  <a:cubicBezTo>
                    <a:pt x="7" y="43"/>
                    <a:pt x="11" y="43"/>
                    <a:pt x="14" y="43"/>
                  </a:cubicBezTo>
                  <a:cubicBezTo>
                    <a:pt x="34" y="43"/>
                    <a:pt x="54" y="41"/>
                    <a:pt x="73" y="34"/>
                  </a:cubicBezTo>
                  <a:cubicBezTo>
                    <a:pt x="70" y="30"/>
                    <a:pt x="67" y="27"/>
                    <a:pt x="64" y="24"/>
                  </a:cubicBezTo>
                  <a:cubicBezTo>
                    <a:pt x="61" y="21"/>
                    <a:pt x="59" y="19"/>
                    <a:pt x="55" y="19"/>
                  </a:cubicBezTo>
                  <a:cubicBezTo>
                    <a:pt x="55" y="19"/>
                    <a:pt x="54" y="19"/>
                    <a:pt x="54" y="20"/>
                  </a:cubicBezTo>
                  <a:cubicBezTo>
                    <a:pt x="54" y="20"/>
                    <a:pt x="54" y="20"/>
                    <a:pt x="53" y="20"/>
                  </a:cubicBezTo>
                  <a:cubicBezTo>
                    <a:pt x="52" y="20"/>
                    <a:pt x="51" y="19"/>
                    <a:pt x="50" y="19"/>
                  </a:cubicBezTo>
                  <a:cubicBezTo>
                    <a:pt x="50" y="13"/>
                    <a:pt x="50" y="7"/>
                    <a:pt x="50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9" name="任意多边形 318">
              <a:extLst>
                <a:ext uri="{FF2B5EF4-FFF2-40B4-BE49-F238E27FC236}">
                  <a16:creationId xmlns:a16="http://schemas.microsoft.com/office/drawing/2014/main" id="{112688F1-8A7D-4B77-ABC2-0AF1E8BABE35}"/>
                </a:ext>
              </a:extLst>
            </p:cNvPr>
            <p:cNvSpPr/>
            <p:nvPr/>
          </p:nvSpPr>
          <p:spPr bwMode="auto">
            <a:xfrm>
              <a:off x="5391151" y="5718175"/>
              <a:ext cx="87313" cy="4762"/>
            </a:xfrm>
            <a:custGeom>
              <a:avLst/>
              <a:gdLst>
                <a:gd name="T0" fmla="*/ 34 w 34"/>
                <a:gd name="T1" fmla="*/ 0 h 2"/>
                <a:gd name="T2" fmla="*/ 9 w 34"/>
                <a:gd name="T3" fmla="*/ 2 h 2"/>
                <a:gd name="T4" fmla="*/ 0 w 34"/>
                <a:gd name="T5" fmla="*/ 2 h 2"/>
                <a:gd name="T6" fmla="*/ 0 w 34"/>
                <a:gd name="T7" fmla="*/ 2 h 2"/>
                <a:gd name="T8" fmla="*/ 1 w 34"/>
                <a:gd name="T9" fmla="*/ 2 h 2"/>
                <a:gd name="T10" fmla="*/ 10 w 34"/>
                <a:gd name="T11" fmla="*/ 2 h 2"/>
                <a:gd name="T12" fmla="*/ 10 w 34"/>
                <a:gd name="T13" fmla="*/ 2 h 2"/>
                <a:gd name="T14" fmla="*/ 10 w 34"/>
                <a:gd name="T15" fmla="*/ 2 h 2"/>
                <a:gd name="T16" fmla="*/ 34 w 34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">
                  <a:moveTo>
                    <a:pt x="34" y="0"/>
                  </a:moveTo>
                  <a:cubicBezTo>
                    <a:pt x="26" y="1"/>
                    <a:pt x="17" y="2"/>
                    <a:pt x="9" y="2"/>
                  </a:cubicBezTo>
                  <a:cubicBezTo>
                    <a:pt x="6" y="2"/>
                    <a:pt x="3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4" y="2"/>
                    <a:pt x="7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7" y="2"/>
                    <a:pt x="25" y="2"/>
                    <a:pt x="34" y="0"/>
                  </a:cubicBezTo>
                </a:path>
              </a:pathLst>
            </a:custGeom>
            <a:solidFill>
              <a:srgbClr val="9C59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0" name="任意多边形 319">
              <a:extLst>
                <a:ext uri="{FF2B5EF4-FFF2-40B4-BE49-F238E27FC236}">
                  <a16:creationId xmlns:a16="http://schemas.microsoft.com/office/drawing/2014/main" id="{4895363A-E265-4399-91A8-3505853817D6}"/>
                </a:ext>
              </a:extLst>
            </p:cNvPr>
            <p:cNvSpPr/>
            <p:nvPr/>
          </p:nvSpPr>
          <p:spPr bwMode="auto">
            <a:xfrm>
              <a:off x="5391151" y="5702300"/>
              <a:ext cx="155575" cy="111125"/>
            </a:xfrm>
            <a:custGeom>
              <a:avLst/>
              <a:gdLst>
                <a:gd name="T0" fmla="*/ 60 w 60"/>
                <a:gd name="T1" fmla="*/ 0 h 43"/>
                <a:gd name="T2" fmla="*/ 34 w 60"/>
                <a:gd name="T3" fmla="*/ 6 h 43"/>
                <a:gd name="T4" fmla="*/ 10 w 60"/>
                <a:gd name="T5" fmla="*/ 8 h 43"/>
                <a:gd name="T6" fmla="*/ 10 w 60"/>
                <a:gd name="T7" fmla="*/ 8 h 43"/>
                <a:gd name="T8" fmla="*/ 10 w 60"/>
                <a:gd name="T9" fmla="*/ 8 h 43"/>
                <a:gd name="T10" fmla="*/ 10 w 60"/>
                <a:gd name="T11" fmla="*/ 8 h 43"/>
                <a:gd name="T12" fmla="*/ 1 w 60"/>
                <a:gd name="T13" fmla="*/ 8 h 43"/>
                <a:gd name="T14" fmla="*/ 0 w 60"/>
                <a:gd name="T15" fmla="*/ 8 h 43"/>
                <a:gd name="T16" fmla="*/ 0 w 60"/>
                <a:gd name="T17" fmla="*/ 42 h 43"/>
                <a:gd name="T18" fmla="*/ 14 w 60"/>
                <a:gd name="T19" fmla="*/ 43 h 43"/>
                <a:gd name="T20" fmla="*/ 60 w 60"/>
                <a:gd name="T21" fmla="*/ 34 h 43"/>
                <a:gd name="T22" fmla="*/ 60 w 60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43">
                  <a:moveTo>
                    <a:pt x="60" y="0"/>
                  </a:moveTo>
                  <a:cubicBezTo>
                    <a:pt x="51" y="3"/>
                    <a:pt x="42" y="5"/>
                    <a:pt x="34" y="6"/>
                  </a:cubicBezTo>
                  <a:cubicBezTo>
                    <a:pt x="25" y="8"/>
                    <a:pt x="17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7" y="8"/>
                    <a:pt x="4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20"/>
                    <a:pt x="0" y="31"/>
                    <a:pt x="0" y="42"/>
                  </a:cubicBezTo>
                  <a:cubicBezTo>
                    <a:pt x="5" y="42"/>
                    <a:pt x="10" y="42"/>
                    <a:pt x="14" y="43"/>
                  </a:cubicBezTo>
                  <a:cubicBezTo>
                    <a:pt x="29" y="42"/>
                    <a:pt x="44" y="39"/>
                    <a:pt x="60" y="34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rgbClr val="912D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1" name="任意多边形 320">
              <a:extLst>
                <a:ext uri="{FF2B5EF4-FFF2-40B4-BE49-F238E27FC236}">
                  <a16:creationId xmlns:a16="http://schemas.microsoft.com/office/drawing/2014/main" id="{03CDB63D-829D-4214-A209-E9A1B0B1BE82}"/>
                </a:ext>
              </a:extLst>
            </p:cNvPr>
            <p:cNvSpPr/>
            <p:nvPr/>
          </p:nvSpPr>
          <p:spPr bwMode="auto">
            <a:xfrm>
              <a:off x="5697538" y="5543550"/>
              <a:ext cx="100013" cy="150812"/>
            </a:xfrm>
            <a:custGeom>
              <a:avLst/>
              <a:gdLst>
                <a:gd name="T0" fmla="*/ 12 w 38"/>
                <a:gd name="T1" fmla="*/ 0 h 58"/>
                <a:gd name="T2" fmla="*/ 12 w 38"/>
                <a:gd name="T3" fmla="*/ 0 h 58"/>
                <a:gd name="T4" fmla="*/ 8 w 38"/>
                <a:gd name="T5" fmla="*/ 13 h 58"/>
                <a:gd name="T6" fmla="*/ 8 w 38"/>
                <a:gd name="T7" fmla="*/ 13 h 58"/>
                <a:gd name="T8" fmla="*/ 12 w 38"/>
                <a:gd name="T9" fmla="*/ 0 h 58"/>
                <a:gd name="T10" fmla="*/ 12 w 38"/>
                <a:gd name="T11" fmla="*/ 34 h 58"/>
                <a:gd name="T12" fmla="*/ 0 w 38"/>
                <a:gd name="T13" fmla="*/ 58 h 58"/>
                <a:gd name="T14" fmla="*/ 11 w 38"/>
                <a:gd name="T15" fmla="*/ 58 h 58"/>
                <a:gd name="T16" fmla="*/ 17 w 38"/>
                <a:gd name="T17" fmla="*/ 58 h 58"/>
                <a:gd name="T18" fmla="*/ 18 w 38"/>
                <a:gd name="T19" fmla="*/ 58 h 58"/>
                <a:gd name="T20" fmla="*/ 28 w 38"/>
                <a:gd name="T21" fmla="*/ 52 h 58"/>
                <a:gd name="T22" fmla="*/ 31 w 38"/>
                <a:gd name="T23" fmla="*/ 48 h 58"/>
                <a:gd name="T24" fmla="*/ 28 w 38"/>
                <a:gd name="T25" fmla="*/ 16 h 58"/>
                <a:gd name="T26" fmla="*/ 14 w 38"/>
                <a:gd name="T27" fmla="*/ 3 h 58"/>
                <a:gd name="T28" fmla="*/ 12 w 38"/>
                <a:gd name="T2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58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4"/>
                    <a:pt x="10" y="9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0" y="9"/>
                    <a:pt x="12" y="4"/>
                    <a:pt x="12" y="0"/>
                  </a:cubicBezTo>
                  <a:cubicBezTo>
                    <a:pt x="12" y="11"/>
                    <a:pt x="12" y="23"/>
                    <a:pt x="12" y="34"/>
                  </a:cubicBezTo>
                  <a:cubicBezTo>
                    <a:pt x="12" y="42"/>
                    <a:pt x="8" y="50"/>
                    <a:pt x="0" y="58"/>
                  </a:cubicBezTo>
                  <a:cubicBezTo>
                    <a:pt x="0" y="58"/>
                    <a:pt x="6" y="58"/>
                    <a:pt x="11" y="58"/>
                  </a:cubicBezTo>
                  <a:cubicBezTo>
                    <a:pt x="13" y="58"/>
                    <a:pt x="15" y="58"/>
                    <a:pt x="17" y="58"/>
                  </a:cubicBezTo>
                  <a:cubicBezTo>
                    <a:pt x="17" y="58"/>
                    <a:pt x="18" y="58"/>
                    <a:pt x="18" y="58"/>
                  </a:cubicBezTo>
                  <a:cubicBezTo>
                    <a:pt x="23" y="58"/>
                    <a:pt x="26" y="56"/>
                    <a:pt x="28" y="52"/>
                  </a:cubicBezTo>
                  <a:cubicBezTo>
                    <a:pt x="29" y="51"/>
                    <a:pt x="30" y="50"/>
                    <a:pt x="31" y="48"/>
                  </a:cubicBezTo>
                  <a:cubicBezTo>
                    <a:pt x="38" y="37"/>
                    <a:pt x="36" y="25"/>
                    <a:pt x="28" y="16"/>
                  </a:cubicBezTo>
                  <a:cubicBezTo>
                    <a:pt x="24" y="10"/>
                    <a:pt x="20" y="7"/>
                    <a:pt x="14" y="3"/>
                  </a:cubicBezTo>
                  <a:cubicBezTo>
                    <a:pt x="13" y="2"/>
                    <a:pt x="13" y="0"/>
                    <a:pt x="12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2" name="任意多边形 321">
              <a:extLst>
                <a:ext uri="{FF2B5EF4-FFF2-40B4-BE49-F238E27FC236}">
                  <a16:creationId xmlns:a16="http://schemas.microsoft.com/office/drawing/2014/main" id="{5A637EB0-52C7-425C-AD3C-F6D2F1BA82EA}"/>
                </a:ext>
              </a:extLst>
            </p:cNvPr>
            <p:cNvSpPr/>
            <p:nvPr/>
          </p:nvSpPr>
          <p:spPr bwMode="auto">
            <a:xfrm>
              <a:off x="5697538" y="5543550"/>
              <a:ext cx="31750" cy="150812"/>
            </a:xfrm>
            <a:custGeom>
              <a:avLst/>
              <a:gdLst>
                <a:gd name="T0" fmla="*/ 12 w 12"/>
                <a:gd name="T1" fmla="*/ 0 h 58"/>
                <a:gd name="T2" fmla="*/ 8 w 12"/>
                <a:gd name="T3" fmla="*/ 13 h 58"/>
                <a:gd name="T4" fmla="*/ 0 w 12"/>
                <a:gd name="T5" fmla="*/ 24 h 58"/>
                <a:gd name="T6" fmla="*/ 0 w 12"/>
                <a:gd name="T7" fmla="*/ 24 h 58"/>
                <a:gd name="T8" fmla="*/ 0 w 12"/>
                <a:gd name="T9" fmla="*/ 58 h 58"/>
                <a:gd name="T10" fmla="*/ 0 w 12"/>
                <a:gd name="T11" fmla="*/ 58 h 58"/>
                <a:gd name="T12" fmla="*/ 12 w 12"/>
                <a:gd name="T13" fmla="*/ 34 h 58"/>
                <a:gd name="T14" fmla="*/ 12 w 12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8">
                  <a:moveTo>
                    <a:pt x="12" y="0"/>
                  </a:moveTo>
                  <a:cubicBezTo>
                    <a:pt x="12" y="4"/>
                    <a:pt x="10" y="9"/>
                    <a:pt x="8" y="13"/>
                  </a:cubicBezTo>
                  <a:cubicBezTo>
                    <a:pt x="4" y="20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8" y="50"/>
                    <a:pt x="12" y="42"/>
                    <a:pt x="12" y="34"/>
                  </a:cubicBezTo>
                  <a:cubicBezTo>
                    <a:pt x="12" y="23"/>
                    <a:pt x="12" y="11"/>
                    <a:pt x="12" y="0"/>
                  </a:cubicBezTo>
                </a:path>
              </a:pathLst>
            </a:custGeom>
            <a:solidFill>
              <a:srgbClr val="751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3" name="任意多边形 322">
              <a:extLst>
                <a:ext uri="{FF2B5EF4-FFF2-40B4-BE49-F238E27FC236}">
                  <a16:creationId xmlns:a16="http://schemas.microsoft.com/office/drawing/2014/main" id="{D52EF55F-6EAF-46E9-B88D-AC5E03B4C763}"/>
                </a:ext>
              </a:extLst>
            </p:cNvPr>
            <p:cNvSpPr/>
            <p:nvPr/>
          </p:nvSpPr>
          <p:spPr bwMode="auto">
            <a:xfrm>
              <a:off x="5697538" y="5543550"/>
              <a:ext cx="31750" cy="61912"/>
            </a:xfrm>
            <a:custGeom>
              <a:avLst/>
              <a:gdLst>
                <a:gd name="T0" fmla="*/ 0 w 12"/>
                <a:gd name="T1" fmla="*/ 24 h 24"/>
                <a:gd name="T2" fmla="*/ 0 w 12"/>
                <a:gd name="T3" fmla="*/ 24 h 24"/>
                <a:gd name="T4" fmla="*/ 0 w 12"/>
                <a:gd name="T5" fmla="*/ 24 h 24"/>
                <a:gd name="T6" fmla="*/ 12 w 12"/>
                <a:gd name="T7" fmla="*/ 0 h 24"/>
                <a:gd name="T8" fmla="*/ 8 w 12"/>
                <a:gd name="T9" fmla="*/ 13 h 24"/>
                <a:gd name="T10" fmla="*/ 12 w 12"/>
                <a:gd name="T11" fmla="*/ 0 h 24"/>
                <a:gd name="T12" fmla="*/ 12 w 12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moveTo>
                    <a:pt x="12" y="0"/>
                  </a:moveTo>
                  <a:cubicBezTo>
                    <a:pt x="11" y="5"/>
                    <a:pt x="10" y="10"/>
                    <a:pt x="8" y="13"/>
                  </a:cubicBezTo>
                  <a:cubicBezTo>
                    <a:pt x="10" y="9"/>
                    <a:pt x="12" y="4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9C59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4" name="任意多边形 323">
              <a:extLst>
                <a:ext uri="{FF2B5EF4-FFF2-40B4-BE49-F238E27FC236}">
                  <a16:creationId xmlns:a16="http://schemas.microsoft.com/office/drawing/2014/main" id="{618DDB28-6F7A-4E25-9D97-7251510986C0}"/>
                </a:ext>
              </a:extLst>
            </p:cNvPr>
            <p:cNvSpPr/>
            <p:nvPr/>
          </p:nvSpPr>
          <p:spPr bwMode="auto">
            <a:xfrm>
              <a:off x="4957763" y="4713288"/>
              <a:ext cx="73025" cy="173037"/>
            </a:xfrm>
            <a:custGeom>
              <a:avLst/>
              <a:gdLst>
                <a:gd name="T0" fmla="*/ 12 w 28"/>
                <a:gd name="T1" fmla="*/ 37 h 66"/>
                <a:gd name="T2" fmla="*/ 0 w 28"/>
                <a:gd name="T3" fmla="*/ 66 h 66"/>
                <a:gd name="T4" fmla="*/ 12 w 28"/>
                <a:gd name="T5" fmla="*/ 37 h 66"/>
                <a:gd name="T6" fmla="*/ 18 w 28"/>
                <a:gd name="T7" fmla="*/ 20 h 66"/>
                <a:gd name="T8" fmla="*/ 16 w 28"/>
                <a:gd name="T9" fmla="*/ 27 h 66"/>
                <a:gd name="T10" fmla="*/ 18 w 28"/>
                <a:gd name="T11" fmla="*/ 20 h 66"/>
                <a:gd name="T12" fmla="*/ 27 w 28"/>
                <a:gd name="T13" fmla="*/ 15 h 66"/>
                <a:gd name="T14" fmla="*/ 28 w 28"/>
                <a:gd name="T15" fmla="*/ 19 h 66"/>
                <a:gd name="T16" fmla="*/ 27 w 28"/>
                <a:gd name="T17" fmla="*/ 15 h 66"/>
                <a:gd name="T18" fmla="*/ 23 w 28"/>
                <a:gd name="T19" fmla="*/ 0 h 66"/>
                <a:gd name="T20" fmla="*/ 23 w 28"/>
                <a:gd name="T21" fmla="*/ 0 h 66"/>
                <a:gd name="T22" fmla="*/ 23 w 28"/>
                <a:gd name="T23" fmla="*/ 0 h 66"/>
                <a:gd name="T24" fmla="*/ 25 w 28"/>
                <a:gd name="T25" fmla="*/ 9 h 66"/>
                <a:gd name="T26" fmla="*/ 23 w 28"/>
                <a:gd name="T2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66">
                  <a:moveTo>
                    <a:pt x="12" y="37"/>
                  </a:moveTo>
                  <a:cubicBezTo>
                    <a:pt x="8" y="47"/>
                    <a:pt x="3" y="56"/>
                    <a:pt x="0" y="66"/>
                  </a:cubicBezTo>
                  <a:cubicBezTo>
                    <a:pt x="4" y="56"/>
                    <a:pt x="8" y="47"/>
                    <a:pt x="12" y="37"/>
                  </a:cubicBezTo>
                  <a:moveTo>
                    <a:pt x="18" y="20"/>
                  </a:moveTo>
                  <a:cubicBezTo>
                    <a:pt x="17" y="22"/>
                    <a:pt x="16" y="25"/>
                    <a:pt x="16" y="27"/>
                  </a:cubicBezTo>
                  <a:cubicBezTo>
                    <a:pt x="16" y="25"/>
                    <a:pt x="17" y="22"/>
                    <a:pt x="18" y="20"/>
                  </a:cubicBezTo>
                  <a:moveTo>
                    <a:pt x="27" y="15"/>
                  </a:moveTo>
                  <a:cubicBezTo>
                    <a:pt x="27" y="16"/>
                    <a:pt x="27" y="17"/>
                    <a:pt x="28" y="19"/>
                  </a:cubicBezTo>
                  <a:cubicBezTo>
                    <a:pt x="27" y="17"/>
                    <a:pt x="27" y="16"/>
                    <a:pt x="27" y="15"/>
                  </a:cubicBezTo>
                  <a:moveTo>
                    <a:pt x="2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2"/>
                    <a:pt x="25" y="5"/>
                    <a:pt x="25" y="9"/>
                  </a:cubicBezTo>
                  <a:cubicBezTo>
                    <a:pt x="25" y="6"/>
                    <a:pt x="24" y="2"/>
                    <a:pt x="23" y="0"/>
                  </a:cubicBezTo>
                </a:path>
              </a:pathLst>
            </a:custGeom>
            <a:solidFill>
              <a:srgbClr val="912D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5" name="任意多边形 324">
              <a:extLst>
                <a:ext uri="{FF2B5EF4-FFF2-40B4-BE49-F238E27FC236}">
                  <a16:creationId xmlns:a16="http://schemas.microsoft.com/office/drawing/2014/main" id="{17616950-9289-4CD5-9294-57C171EF9C9C}"/>
                </a:ext>
              </a:extLst>
            </p:cNvPr>
            <p:cNvSpPr/>
            <p:nvPr/>
          </p:nvSpPr>
          <p:spPr bwMode="auto">
            <a:xfrm>
              <a:off x="4954588" y="4818063"/>
              <a:ext cx="101600" cy="74612"/>
            </a:xfrm>
            <a:custGeom>
              <a:avLst/>
              <a:gdLst>
                <a:gd name="T0" fmla="*/ 30 w 39"/>
                <a:gd name="T1" fmla="*/ 11 h 29"/>
                <a:gd name="T2" fmla="*/ 30 w 39"/>
                <a:gd name="T3" fmla="*/ 11 h 29"/>
                <a:gd name="T4" fmla="*/ 0 w 39"/>
                <a:gd name="T5" fmla="*/ 29 h 29"/>
                <a:gd name="T6" fmla="*/ 0 w 39"/>
                <a:gd name="T7" fmla="*/ 29 h 29"/>
                <a:gd name="T8" fmla="*/ 30 w 39"/>
                <a:gd name="T9" fmla="*/ 11 h 29"/>
                <a:gd name="T10" fmla="*/ 39 w 39"/>
                <a:gd name="T11" fmla="*/ 17 h 29"/>
                <a:gd name="T12" fmla="*/ 39 w 39"/>
                <a:gd name="T13" fmla="*/ 17 h 29"/>
                <a:gd name="T14" fmla="*/ 30 w 39"/>
                <a:gd name="T15" fmla="*/ 11 h 29"/>
                <a:gd name="T16" fmla="*/ 34 w 39"/>
                <a:gd name="T17" fmla="*/ 0 h 29"/>
                <a:gd name="T18" fmla="*/ 33 w 39"/>
                <a:gd name="T19" fmla="*/ 3 h 29"/>
                <a:gd name="T20" fmla="*/ 34 w 39"/>
                <a:gd name="T2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29">
                  <a:moveTo>
                    <a:pt x="30" y="11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7" y="15"/>
                    <a:pt x="32" y="13"/>
                    <a:pt x="30" y="11"/>
                  </a:cubicBezTo>
                  <a:moveTo>
                    <a:pt x="34" y="0"/>
                  </a:moveTo>
                  <a:cubicBezTo>
                    <a:pt x="34" y="1"/>
                    <a:pt x="34" y="2"/>
                    <a:pt x="33" y="3"/>
                  </a:cubicBezTo>
                  <a:cubicBezTo>
                    <a:pt x="34" y="1"/>
                    <a:pt x="34" y="0"/>
                    <a:pt x="34" y="0"/>
                  </a:cubicBezTo>
                </a:path>
              </a:pathLst>
            </a:custGeom>
            <a:solidFill>
              <a:srgbClr val="A298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" name="任意多边形 325">
              <a:extLst>
                <a:ext uri="{FF2B5EF4-FFF2-40B4-BE49-F238E27FC236}">
                  <a16:creationId xmlns:a16="http://schemas.microsoft.com/office/drawing/2014/main" id="{254F820B-CF52-483D-B8D6-8639FEB1C515}"/>
                </a:ext>
              </a:extLst>
            </p:cNvPr>
            <p:cNvSpPr/>
            <p:nvPr/>
          </p:nvSpPr>
          <p:spPr bwMode="auto">
            <a:xfrm>
              <a:off x="4954588" y="4846638"/>
              <a:ext cx="115888" cy="68262"/>
            </a:xfrm>
            <a:custGeom>
              <a:avLst/>
              <a:gdLst>
                <a:gd name="T0" fmla="*/ 30 w 44"/>
                <a:gd name="T1" fmla="*/ 0 h 26"/>
                <a:gd name="T2" fmla="*/ 0 w 44"/>
                <a:gd name="T3" fmla="*/ 18 h 26"/>
                <a:gd name="T4" fmla="*/ 0 w 44"/>
                <a:gd name="T5" fmla="*/ 18 h 26"/>
                <a:gd name="T6" fmla="*/ 44 w 44"/>
                <a:gd name="T7" fmla="*/ 26 h 26"/>
                <a:gd name="T8" fmla="*/ 40 w 44"/>
                <a:gd name="T9" fmla="*/ 8 h 26"/>
                <a:gd name="T10" fmla="*/ 39 w 44"/>
                <a:gd name="T11" fmla="*/ 6 h 26"/>
                <a:gd name="T12" fmla="*/ 39 w 44"/>
                <a:gd name="T13" fmla="*/ 6 h 26"/>
                <a:gd name="T14" fmla="*/ 30 w 44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26">
                  <a:moveTo>
                    <a:pt x="3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5" y="21"/>
                    <a:pt x="29" y="23"/>
                    <a:pt x="44" y="26"/>
                  </a:cubicBezTo>
                  <a:cubicBezTo>
                    <a:pt x="43" y="19"/>
                    <a:pt x="41" y="14"/>
                    <a:pt x="40" y="8"/>
                  </a:cubicBezTo>
                  <a:cubicBezTo>
                    <a:pt x="39" y="7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0" y="0"/>
                    <a:pt x="30" y="0"/>
                    <a:pt x="30" y="0"/>
                  </a:cubicBezTo>
                </a:path>
              </a:pathLst>
            </a:custGeom>
            <a:solidFill>
              <a:srgbClr val="9C59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" name="任意多边形 326">
              <a:extLst>
                <a:ext uri="{FF2B5EF4-FFF2-40B4-BE49-F238E27FC236}">
                  <a16:creationId xmlns:a16="http://schemas.microsoft.com/office/drawing/2014/main" id="{91ABB978-831A-4B2D-82D2-2663BA8E510D}"/>
                </a:ext>
              </a:extLst>
            </p:cNvPr>
            <p:cNvSpPr/>
            <p:nvPr/>
          </p:nvSpPr>
          <p:spPr bwMode="auto">
            <a:xfrm>
              <a:off x="4954588" y="4713288"/>
              <a:ext cx="88900" cy="179387"/>
            </a:xfrm>
            <a:custGeom>
              <a:avLst/>
              <a:gdLst>
                <a:gd name="T0" fmla="*/ 24 w 34"/>
                <a:gd name="T1" fmla="*/ 0 h 69"/>
                <a:gd name="T2" fmla="*/ 24 w 34"/>
                <a:gd name="T3" fmla="*/ 0 h 69"/>
                <a:gd name="T4" fmla="*/ 19 w 34"/>
                <a:gd name="T5" fmla="*/ 20 h 69"/>
                <a:gd name="T6" fmla="*/ 17 w 34"/>
                <a:gd name="T7" fmla="*/ 27 h 69"/>
                <a:gd name="T8" fmla="*/ 13 w 34"/>
                <a:gd name="T9" fmla="*/ 37 h 69"/>
                <a:gd name="T10" fmla="*/ 1 w 34"/>
                <a:gd name="T11" fmla="*/ 66 h 69"/>
                <a:gd name="T12" fmla="*/ 0 w 34"/>
                <a:gd name="T13" fmla="*/ 69 h 69"/>
                <a:gd name="T14" fmla="*/ 30 w 34"/>
                <a:gd name="T15" fmla="*/ 51 h 69"/>
                <a:gd name="T16" fmla="*/ 30 w 34"/>
                <a:gd name="T17" fmla="*/ 51 h 69"/>
                <a:gd name="T18" fmla="*/ 30 w 34"/>
                <a:gd name="T19" fmla="*/ 51 h 69"/>
                <a:gd name="T20" fmla="*/ 32 w 34"/>
                <a:gd name="T21" fmla="*/ 45 h 69"/>
                <a:gd name="T22" fmla="*/ 33 w 34"/>
                <a:gd name="T23" fmla="*/ 43 h 69"/>
                <a:gd name="T24" fmla="*/ 34 w 34"/>
                <a:gd name="T25" fmla="*/ 40 h 69"/>
                <a:gd name="T26" fmla="*/ 34 w 34"/>
                <a:gd name="T27" fmla="*/ 40 h 69"/>
                <a:gd name="T28" fmla="*/ 34 w 34"/>
                <a:gd name="T29" fmla="*/ 40 h 69"/>
                <a:gd name="T30" fmla="*/ 29 w 34"/>
                <a:gd name="T31" fmla="*/ 19 h 69"/>
                <a:gd name="T32" fmla="*/ 28 w 34"/>
                <a:gd name="T33" fmla="*/ 15 h 69"/>
                <a:gd name="T34" fmla="*/ 27 w 34"/>
                <a:gd name="T35" fmla="*/ 12 h 69"/>
                <a:gd name="T36" fmla="*/ 26 w 34"/>
                <a:gd name="T37" fmla="*/ 9 h 69"/>
                <a:gd name="T38" fmla="*/ 24 w 34"/>
                <a:gd name="T3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69"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3" y="6"/>
                    <a:pt x="21" y="13"/>
                    <a:pt x="19" y="20"/>
                  </a:cubicBezTo>
                  <a:cubicBezTo>
                    <a:pt x="18" y="22"/>
                    <a:pt x="17" y="25"/>
                    <a:pt x="17" y="27"/>
                  </a:cubicBezTo>
                  <a:cubicBezTo>
                    <a:pt x="15" y="30"/>
                    <a:pt x="14" y="33"/>
                    <a:pt x="13" y="37"/>
                  </a:cubicBezTo>
                  <a:cubicBezTo>
                    <a:pt x="9" y="47"/>
                    <a:pt x="5" y="56"/>
                    <a:pt x="1" y="66"/>
                  </a:cubicBezTo>
                  <a:cubicBezTo>
                    <a:pt x="1" y="67"/>
                    <a:pt x="0" y="68"/>
                    <a:pt x="0" y="69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1" y="49"/>
                    <a:pt x="31" y="47"/>
                    <a:pt x="32" y="45"/>
                  </a:cubicBezTo>
                  <a:cubicBezTo>
                    <a:pt x="32" y="44"/>
                    <a:pt x="33" y="43"/>
                    <a:pt x="33" y="43"/>
                  </a:cubicBezTo>
                  <a:cubicBezTo>
                    <a:pt x="34" y="42"/>
                    <a:pt x="34" y="41"/>
                    <a:pt x="34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34"/>
                    <a:pt x="31" y="26"/>
                    <a:pt x="29" y="19"/>
                  </a:cubicBezTo>
                  <a:cubicBezTo>
                    <a:pt x="28" y="17"/>
                    <a:pt x="28" y="16"/>
                    <a:pt x="28" y="15"/>
                  </a:cubicBezTo>
                  <a:cubicBezTo>
                    <a:pt x="28" y="14"/>
                    <a:pt x="27" y="13"/>
                    <a:pt x="27" y="12"/>
                  </a:cubicBezTo>
                  <a:cubicBezTo>
                    <a:pt x="27" y="11"/>
                    <a:pt x="27" y="10"/>
                    <a:pt x="26" y="9"/>
                  </a:cubicBezTo>
                  <a:cubicBezTo>
                    <a:pt x="26" y="5"/>
                    <a:pt x="25" y="2"/>
                    <a:pt x="24" y="0"/>
                  </a:cubicBezTo>
                </a:path>
              </a:pathLst>
            </a:custGeom>
            <a:solidFill>
              <a:srgbClr val="7516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" name="任意多边形 327">
              <a:extLst>
                <a:ext uri="{FF2B5EF4-FFF2-40B4-BE49-F238E27FC236}">
                  <a16:creationId xmlns:a16="http://schemas.microsoft.com/office/drawing/2014/main" id="{535E23E1-0122-4F16-955B-F21C4352B0A2}"/>
                </a:ext>
              </a:extLst>
            </p:cNvPr>
            <p:cNvSpPr/>
            <p:nvPr/>
          </p:nvSpPr>
          <p:spPr bwMode="auto">
            <a:xfrm>
              <a:off x="3979863" y="3929063"/>
              <a:ext cx="1025525" cy="592137"/>
            </a:xfrm>
            <a:custGeom>
              <a:avLst/>
              <a:gdLst>
                <a:gd name="T0" fmla="*/ 393 w 393"/>
                <a:gd name="T1" fmla="*/ 96 h 227"/>
                <a:gd name="T2" fmla="*/ 166 w 393"/>
                <a:gd name="T3" fmla="*/ 227 h 227"/>
                <a:gd name="T4" fmla="*/ 0 w 393"/>
                <a:gd name="T5" fmla="*/ 131 h 227"/>
                <a:gd name="T6" fmla="*/ 227 w 393"/>
                <a:gd name="T7" fmla="*/ 0 h 227"/>
                <a:gd name="T8" fmla="*/ 393 w 393"/>
                <a:gd name="T9" fmla="*/ 96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3" h="227">
                  <a:moveTo>
                    <a:pt x="393" y="96"/>
                  </a:moveTo>
                  <a:cubicBezTo>
                    <a:pt x="166" y="227"/>
                    <a:pt x="166" y="227"/>
                    <a:pt x="166" y="227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54" y="99"/>
                    <a:pt x="196" y="18"/>
                    <a:pt x="227" y="0"/>
                  </a:cubicBezTo>
                  <a:cubicBezTo>
                    <a:pt x="252" y="14"/>
                    <a:pt x="296" y="39"/>
                    <a:pt x="393" y="96"/>
                  </a:cubicBezTo>
                </a:path>
              </a:pathLst>
            </a:custGeom>
            <a:solidFill>
              <a:srgbClr val="EBEE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9" name="任意多边形 328">
              <a:extLst>
                <a:ext uri="{FF2B5EF4-FFF2-40B4-BE49-F238E27FC236}">
                  <a16:creationId xmlns:a16="http://schemas.microsoft.com/office/drawing/2014/main" id="{6FFAC9E7-CD69-489D-891A-1BE74A8229B8}"/>
                </a:ext>
              </a:extLst>
            </p:cNvPr>
            <p:cNvSpPr/>
            <p:nvPr/>
          </p:nvSpPr>
          <p:spPr bwMode="auto">
            <a:xfrm>
              <a:off x="4462463" y="4340225"/>
              <a:ext cx="276225" cy="190500"/>
            </a:xfrm>
            <a:custGeom>
              <a:avLst/>
              <a:gdLst>
                <a:gd name="T0" fmla="*/ 174 w 174"/>
                <a:gd name="T1" fmla="*/ 0 h 120"/>
                <a:gd name="T2" fmla="*/ 54 w 174"/>
                <a:gd name="T3" fmla="*/ 120 h 120"/>
                <a:gd name="T4" fmla="*/ 0 w 174"/>
                <a:gd name="T5" fmla="*/ 100 h 120"/>
                <a:gd name="T6" fmla="*/ 174 w 174"/>
                <a:gd name="T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4" h="120">
                  <a:moveTo>
                    <a:pt x="174" y="0"/>
                  </a:moveTo>
                  <a:lnTo>
                    <a:pt x="54" y="120"/>
                  </a:lnTo>
                  <a:lnTo>
                    <a:pt x="0" y="100"/>
                  </a:lnTo>
                  <a:lnTo>
                    <a:pt x="174" y="0"/>
                  </a:lnTo>
                  <a:close/>
                </a:path>
              </a:pathLst>
            </a:custGeom>
            <a:solidFill>
              <a:srgbClr val="D3D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0" name="任意多边形 329">
              <a:extLst>
                <a:ext uri="{FF2B5EF4-FFF2-40B4-BE49-F238E27FC236}">
                  <a16:creationId xmlns:a16="http://schemas.microsoft.com/office/drawing/2014/main" id="{4B30E35F-C97E-4409-BB66-130DC14E11EE}"/>
                </a:ext>
              </a:extLst>
            </p:cNvPr>
            <p:cNvSpPr/>
            <p:nvPr/>
          </p:nvSpPr>
          <p:spPr bwMode="auto">
            <a:xfrm>
              <a:off x="4548188" y="4330700"/>
              <a:ext cx="211138" cy="207962"/>
            </a:xfrm>
            <a:custGeom>
              <a:avLst/>
              <a:gdLst>
                <a:gd name="T0" fmla="*/ 0 w 133"/>
                <a:gd name="T1" fmla="*/ 126 h 131"/>
                <a:gd name="T2" fmla="*/ 120 w 133"/>
                <a:gd name="T3" fmla="*/ 6 h 131"/>
                <a:gd name="T4" fmla="*/ 133 w 133"/>
                <a:gd name="T5" fmla="*/ 0 h 131"/>
                <a:gd name="T6" fmla="*/ 0 w 133"/>
                <a:gd name="T7" fmla="*/ 131 h 131"/>
                <a:gd name="T8" fmla="*/ 0 w 133"/>
                <a:gd name="T9" fmla="*/ 12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31">
                  <a:moveTo>
                    <a:pt x="0" y="126"/>
                  </a:moveTo>
                  <a:lnTo>
                    <a:pt x="120" y="6"/>
                  </a:lnTo>
                  <a:lnTo>
                    <a:pt x="133" y="0"/>
                  </a:lnTo>
                  <a:lnTo>
                    <a:pt x="0" y="131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BEB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1" name="任意多边形 330">
              <a:extLst>
                <a:ext uri="{FF2B5EF4-FFF2-40B4-BE49-F238E27FC236}">
                  <a16:creationId xmlns:a16="http://schemas.microsoft.com/office/drawing/2014/main" id="{BA9F5A77-F527-41EC-9416-69E73E8EDE8B}"/>
                </a:ext>
              </a:extLst>
            </p:cNvPr>
            <p:cNvSpPr/>
            <p:nvPr/>
          </p:nvSpPr>
          <p:spPr bwMode="auto">
            <a:xfrm>
              <a:off x="4451351" y="4498975"/>
              <a:ext cx="96838" cy="39687"/>
            </a:xfrm>
            <a:custGeom>
              <a:avLst/>
              <a:gdLst>
                <a:gd name="T0" fmla="*/ 61 w 61"/>
                <a:gd name="T1" fmla="*/ 20 h 25"/>
                <a:gd name="T2" fmla="*/ 61 w 61"/>
                <a:gd name="T3" fmla="*/ 25 h 25"/>
                <a:gd name="T4" fmla="*/ 0 w 61"/>
                <a:gd name="T5" fmla="*/ 5 h 25"/>
                <a:gd name="T6" fmla="*/ 7 w 61"/>
                <a:gd name="T7" fmla="*/ 0 h 25"/>
                <a:gd name="T8" fmla="*/ 61 w 61"/>
                <a:gd name="T9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25">
                  <a:moveTo>
                    <a:pt x="61" y="20"/>
                  </a:moveTo>
                  <a:lnTo>
                    <a:pt x="61" y="25"/>
                  </a:lnTo>
                  <a:lnTo>
                    <a:pt x="0" y="5"/>
                  </a:lnTo>
                  <a:lnTo>
                    <a:pt x="7" y="0"/>
                  </a:lnTo>
                  <a:lnTo>
                    <a:pt x="61" y="20"/>
                  </a:lnTo>
                  <a:close/>
                </a:path>
              </a:pathLst>
            </a:custGeom>
            <a:solidFill>
              <a:srgbClr val="BEB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2" name="任意多边形 331">
              <a:extLst>
                <a:ext uri="{FF2B5EF4-FFF2-40B4-BE49-F238E27FC236}">
                  <a16:creationId xmlns:a16="http://schemas.microsoft.com/office/drawing/2014/main" id="{79BBE511-3B6A-404F-9FA9-7ECAB91B2473}"/>
                </a:ext>
              </a:extLst>
            </p:cNvPr>
            <p:cNvSpPr/>
            <p:nvPr/>
          </p:nvSpPr>
          <p:spPr bwMode="auto">
            <a:xfrm>
              <a:off x="4268788" y="3933825"/>
              <a:ext cx="246063" cy="169862"/>
            </a:xfrm>
            <a:custGeom>
              <a:avLst/>
              <a:gdLst>
                <a:gd name="T0" fmla="*/ 155 w 155"/>
                <a:gd name="T1" fmla="*/ 16 h 107"/>
                <a:gd name="T2" fmla="*/ 0 w 155"/>
                <a:gd name="T3" fmla="*/ 107 h 107"/>
                <a:gd name="T4" fmla="*/ 105 w 155"/>
                <a:gd name="T5" fmla="*/ 0 h 107"/>
                <a:gd name="T6" fmla="*/ 155 w 155"/>
                <a:gd name="T7" fmla="*/ 1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5" h="107">
                  <a:moveTo>
                    <a:pt x="155" y="16"/>
                  </a:moveTo>
                  <a:lnTo>
                    <a:pt x="0" y="107"/>
                  </a:lnTo>
                  <a:lnTo>
                    <a:pt x="105" y="0"/>
                  </a:lnTo>
                  <a:lnTo>
                    <a:pt x="155" y="16"/>
                  </a:lnTo>
                  <a:close/>
                </a:path>
              </a:pathLst>
            </a:custGeom>
            <a:solidFill>
              <a:srgbClr val="D3D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3" name="任意多边形 332">
              <a:extLst>
                <a:ext uri="{FF2B5EF4-FFF2-40B4-BE49-F238E27FC236}">
                  <a16:creationId xmlns:a16="http://schemas.microsoft.com/office/drawing/2014/main" id="{5D9CF6F1-BB1D-4FF0-A942-529B42171341}"/>
                </a:ext>
              </a:extLst>
            </p:cNvPr>
            <p:cNvSpPr/>
            <p:nvPr/>
          </p:nvSpPr>
          <p:spPr bwMode="auto">
            <a:xfrm>
              <a:off x="4413251" y="4178300"/>
              <a:ext cx="592138" cy="349250"/>
            </a:xfrm>
            <a:custGeom>
              <a:avLst/>
              <a:gdLst>
                <a:gd name="T0" fmla="*/ 0 w 227"/>
                <a:gd name="T1" fmla="*/ 131 h 134"/>
                <a:gd name="T2" fmla="*/ 227 w 227"/>
                <a:gd name="T3" fmla="*/ 0 h 134"/>
                <a:gd name="T4" fmla="*/ 227 w 227"/>
                <a:gd name="T5" fmla="*/ 3 h 134"/>
                <a:gd name="T6" fmla="*/ 0 w 227"/>
                <a:gd name="T7" fmla="*/ 134 h 134"/>
                <a:gd name="T8" fmla="*/ 0 w 227"/>
                <a:gd name="T9" fmla="*/ 13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34">
                  <a:moveTo>
                    <a:pt x="0" y="131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7" y="3"/>
                    <a:pt x="227" y="3"/>
                    <a:pt x="227" y="3"/>
                  </a:cubicBezTo>
                  <a:cubicBezTo>
                    <a:pt x="202" y="18"/>
                    <a:pt x="1" y="134"/>
                    <a:pt x="0" y="134"/>
                  </a:cubicBezTo>
                  <a:cubicBezTo>
                    <a:pt x="0" y="131"/>
                    <a:pt x="0" y="131"/>
                    <a:pt x="0" y="131"/>
                  </a:cubicBezTo>
                </a:path>
              </a:pathLst>
            </a:custGeom>
            <a:solidFill>
              <a:srgbClr val="BEB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4" name="任意多边形 333">
              <a:extLst>
                <a:ext uri="{FF2B5EF4-FFF2-40B4-BE49-F238E27FC236}">
                  <a16:creationId xmlns:a16="http://schemas.microsoft.com/office/drawing/2014/main" id="{2A048672-705C-4BB1-B578-7165DCE1C58F}"/>
                </a:ext>
              </a:extLst>
            </p:cNvPr>
            <p:cNvSpPr/>
            <p:nvPr/>
          </p:nvSpPr>
          <p:spPr bwMode="auto">
            <a:xfrm>
              <a:off x="4019551" y="4319588"/>
              <a:ext cx="215900" cy="106362"/>
            </a:xfrm>
            <a:custGeom>
              <a:avLst/>
              <a:gdLst>
                <a:gd name="T0" fmla="*/ 136 w 136"/>
                <a:gd name="T1" fmla="*/ 67 h 67"/>
                <a:gd name="T2" fmla="*/ 0 w 136"/>
                <a:gd name="T3" fmla="*/ 21 h 67"/>
                <a:gd name="T4" fmla="*/ 21 w 136"/>
                <a:gd name="T5" fmla="*/ 0 h 67"/>
                <a:gd name="T6" fmla="*/ 136 w 136"/>
                <a:gd name="T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6" h="67">
                  <a:moveTo>
                    <a:pt x="136" y="67"/>
                  </a:moveTo>
                  <a:lnTo>
                    <a:pt x="0" y="21"/>
                  </a:lnTo>
                  <a:lnTo>
                    <a:pt x="21" y="0"/>
                  </a:lnTo>
                  <a:lnTo>
                    <a:pt x="136" y="67"/>
                  </a:lnTo>
                  <a:close/>
                </a:path>
              </a:pathLst>
            </a:custGeom>
            <a:solidFill>
              <a:srgbClr val="D3D3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5" name="任意多边形 334">
              <a:extLst>
                <a:ext uri="{FF2B5EF4-FFF2-40B4-BE49-F238E27FC236}">
                  <a16:creationId xmlns:a16="http://schemas.microsoft.com/office/drawing/2014/main" id="{0EBCEEF5-9822-4C2D-B9F2-84F4F6EFC2AA}"/>
                </a:ext>
              </a:extLst>
            </p:cNvPr>
            <p:cNvSpPr/>
            <p:nvPr/>
          </p:nvSpPr>
          <p:spPr bwMode="auto">
            <a:xfrm>
              <a:off x="4019551" y="4352925"/>
              <a:ext cx="252413" cy="95250"/>
            </a:xfrm>
            <a:custGeom>
              <a:avLst/>
              <a:gdLst>
                <a:gd name="T0" fmla="*/ 0 w 159"/>
                <a:gd name="T1" fmla="*/ 0 h 60"/>
                <a:gd name="T2" fmla="*/ 136 w 159"/>
                <a:gd name="T3" fmla="*/ 46 h 60"/>
                <a:gd name="T4" fmla="*/ 159 w 159"/>
                <a:gd name="T5" fmla="*/ 60 h 60"/>
                <a:gd name="T6" fmla="*/ 0 w 159"/>
                <a:gd name="T7" fmla="*/ 5 h 60"/>
                <a:gd name="T8" fmla="*/ 0 w 159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60">
                  <a:moveTo>
                    <a:pt x="0" y="0"/>
                  </a:moveTo>
                  <a:lnTo>
                    <a:pt x="136" y="46"/>
                  </a:lnTo>
                  <a:lnTo>
                    <a:pt x="159" y="60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B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6" name="任意多边形 335">
              <a:extLst>
                <a:ext uri="{FF2B5EF4-FFF2-40B4-BE49-F238E27FC236}">
                  <a16:creationId xmlns:a16="http://schemas.microsoft.com/office/drawing/2014/main" id="{B5F90C27-6385-4FFD-A20D-21EEA9750344}"/>
                </a:ext>
              </a:extLst>
            </p:cNvPr>
            <p:cNvSpPr/>
            <p:nvPr/>
          </p:nvSpPr>
          <p:spPr bwMode="auto">
            <a:xfrm>
              <a:off x="3979863" y="4270375"/>
              <a:ext cx="433388" cy="257175"/>
            </a:xfrm>
            <a:custGeom>
              <a:avLst/>
              <a:gdLst>
                <a:gd name="T0" fmla="*/ 0 w 166"/>
                <a:gd name="T1" fmla="*/ 0 h 99"/>
                <a:gd name="T2" fmla="*/ 166 w 166"/>
                <a:gd name="T3" fmla="*/ 96 h 99"/>
                <a:gd name="T4" fmla="*/ 166 w 166"/>
                <a:gd name="T5" fmla="*/ 99 h 99"/>
                <a:gd name="T6" fmla="*/ 0 w 166"/>
                <a:gd name="T7" fmla="*/ 3 h 99"/>
                <a:gd name="T8" fmla="*/ 0 w 166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99">
                  <a:moveTo>
                    <a:pt x="0" y="0"/>
                  </a:moveTo>
                  <a:cubicBezTo>
                    <a:pt x="166" y="96"/>
                    <a:pt x="166" y="96"/>
                    <a:pt x="166" y="96"/>
                  </a:cubicBezTo>
                  <a:cubicBezTo>
                    <a:pt x="166" y="99"/>
                    <a:pt x="166" y="99"/>
                    <a:pt x="166" y="99"/>
                  </a:cubicBezTo>
                  <a:cubicBezTo>
                    <a:pt x="151" y="90"/>
                    <a:pt x="8" y="8"/>
                    <a:pt x="0" y="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1F1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7" name="任意多边形 336">
              <a:extLst>
                <a:ext uri="{FF2B5EF4-FFF2-40B4-BE49-F238E27FC236}">
                  <a16:creationId xmlns:a16="http://schemas.microsoft.com/office/drawing/2014/main" id="{2CA34B2C-8D4D-41B2-8118-7BCAD2EAB66F}"/>
                </a:ext>
              </a:extLst>
            </p:cNvPr>
            <p:cNvSpPr/>
            <p:nvPr/>
          </p:nvSpPr>
          <p:spPr bwMode="auto">
            <a:xfrm>
              <a:off x="4527551" y="3857625"/>
              <a:ext cx="560388" cy="323850"/>
            </a:xfrm>
            <a:custGeom>
              <a:avLst/>
              <a:gdLst>
                <a:gd name="T0" fmla="*/ 215 w 215"/>
                <a:gd name="T1" fmla="*/ 103 h 124"/>
                <a:gd name="T2" fmla="*/ 178 w 215"/>
                <a:gd name="T3" fmla="*/ 124 h 124"/>
                <a:gd name="T4" fmla="*/ 0 w 215"/>
                <a:gd name="T5" fmla="*/ 21 h 124"/>
                <a:gd name="T6" fmla="*/ 37 w 215"/>
                <a:gd name="T7" fmla="*/ 0 h 124"/>
                <a:gd name="T8" fmla="*/ 215 w 215"/>
                <a:gd name="T9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24">
                  <a:moveTo>
                    <a:pt x="215" y="103"/>
                  </a:moveTo>
                  <a:cubicBezTo>
                    <a:pt x="178" y="124"/>
                    <a:pt x="178" y="124"/>
                    <a:pt x="178" y="12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199" y="93"/>
                    <a:pt x="215" y="103"/>
                  </a:cubicBezTo>
                  <a:close/>
                </a:path>
              </a:pathLst>
            </a:custGeom>
            <a:solidFill>
              <a:srgbClr val="E0BE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8" name="任意多边形 337">
              <a:extLst>
                <a:ext uri="{FF2B5EF4-FFF2-40B4-BE49-F238E27FC236}">
                  <a16:creationId xmlns:a16="http://schemas.microsoft.com/office/drawing/2014/main" id="{B927DD15-96E8-4615-95CA-9FA191EC6B0B}"/>
                </a:ext>
              </a:extLst>
            </p:cNvPr>
            <p:cNvSpPr/>
            <p:nvPr/>
          </p:nvSpPr>
          <p:spPr bwMode="auto">
            <a:xfrm>
              <a:off x="4991101" y="4125913"/>
              <a:ext cx="96838" cy="68262"/>
            </a:xfrm>
            <a:custGeom>
              <a:avLst/>
              <a:gdLst>
                <a:gd name="T0" fmla="*/ 61 w 61"/>
                <a:gd name="T1" fmla="*/ 9 h 43"/>
                <a:gd name="T2" fmla="*/ 0 w 61"/>
                <a:gd name="T3" fmla="*/ 43 h 43"/>
                <a:gd name="T4" fmla="*/ 0 w 61"/>
                <a:gd name="T5" fmla="*/ 35 h 43"/>
                <a:gd name="T6" fmla="*/ 61 w 61"/>
                <a:gd name="T7" fmla="*/ 0 h 43"/>
                <a:gd name="T8" fmla="*/ 61 w 61"/>
                <a:gd name="T9" fmla="*/ 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3">
                  <a:moveTo>
                    <a:pt x="61" y="9"/>
                  </a:moveTo>
                  <a:lnTo>
                    <a:pt x="0" y="43"/>
                  </a:lnTo>
                  <a:lnTo>
                    <a:pt x="0" y="35"/>
                  </a:lnTo>
                  <a:lnTo>
                    <a:pt x="61" y="0"/>
                  </a:lnTo>
                  <a:lnTo>
                    <a:pt x="61" y="9"/>
                  </a:lnTo>
                  <a:close/>
                </a:path>
              </a:pathLst>
            </a:custGeom>
            <a:solidFill>
              <a:srgbClr val="C48B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9" name="任意多边形 338">
              <a:extLst>
                <a:ext uri="{FF2B5EF4-FFF2-40B4-BE49-F238E27FC236}">
                  <a16:creationId xmlns:a16="http://schemas.microsoft.com/office/drawing/2014/main" id="{B10D2C47-E0F4-4C00-92A1-17A5C06DA4F2}"/>
                </a:ext>
              </a:extLst>
            </p:cNvPr>
            <p:cNvSpPr/>
            <p:nvPr/>
          </p:nvSpPr>
          <p:spPr bwMode="auto">
            <a:xfrm>
              <a:off x="4527551" y="3913188"/>
              <a:ext cx="463550" cy="280987"/>
            </a:xfrm>
            <a:custGeom>
              <a:avLst/>
              <a:gdLst>
                <a:gd name="T0" fmla="*/ 292 w 292"/>
                <a:gd name="T1" fmla="*/ 177 h 177"/>
                <a:gd name="T2" fmla="*/ 0 w 292"/>
                <a:gd name="T3" fmla="*/ 8 h 177"/>
                <a:gd name="T4" fmla="*/ 0 w 292"/>
                <a:gd name="T5" fmla="*/ 0 h 177"/>
                <a:gd name="T6" fmla="*/ 292 w 292"/>
                <a:gd name="T7" fmla="*/ 169 h 177"/>
                <a:gd name="T8" fmla="*/ 292 w 292"/>
                <a:gd name="T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2" h="177">
                  <a:moveTo>
                    <a:pt x="292" y="177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292" y="169"/>
                  </a:lnTo>
                  <a:lnTo>
                    <a:pt x="292" y="177"/>
                  </a:lnTo>
                  <a:close/>
                </a:path>
              </a:pathLst>
            </a:custGeom>
            <a:solidFill>
              <a:srgbClr val="D8A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0" name="任意多边形 339">
              <a:extLst>
                <a:ext uri="{FF2B5EF4-FFF2-40B4-BE49-F238E27FC236}">
                  <a16:creationId xmlns:a16="http://schemas.microsoft.com/office/drawing/2014/main" id="{F27FE6F1-AD4A-4C75-9431-4215448927F5}"/>
                </a:ext>
              </a:extLst>
            </p:cNvPr>
            <p:cNvSpPr/>
            <p:nvPr/>
          </p:nvSpPr>
          <p:spPr bwMode="auto">
            <a:xfrm>
              <a:off x="4592638" y="3876675"/>
              <a:ext cx="69850" cy="41275"/>
            </a:xfrm>
            <a:custGeom>
              <a:avLst/>
              <a:gdLst>
                <a:gd name="T0" fmla="*/ 27 w 27"/>
                <a:gd name="T1" fmla="*/ 1 h 16"/>
                <a:gd name="T2" fmla="*/ 2 w 27"/>
                <a:gd name="T3" fmla="*/ 16 h 16"/>
                <a:gd name="T4" fmla="*/ 1 w 27"/>
                <a:gd name="T5" fmla="*/ 13 h 16"/>
                <a:gd name="T6" fmla="*/ 24 w 27"/>
                <a:gd name="T7" fmla="*/ 0 h 16"/>
                <a:gd name="T8" fmla="*/ 27 w 27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1"/>
                  </a:moveTo>
                  <a:cubicBezTo>
                    <a:pt x="0" y="16"/>
                    <a:pt x="2" y="16"/>
                    <a:pt x="2" y="16"/>
                  </a:cubicBezTo>
                  <a:cubicBezTo>
                    <a:pt x="0" y="16"/>
                    <a:pt x="0" y="14"/>
                    <a:pt x="1" y="13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7" y="1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1" name="任意多边形 340">
              <a:extLst>
                <a:ext uri="{FF2B5EF4-FFF2-40B4-BE49-F238E27FC236}">
                  <a16:creationId xmlns:a16="http://schemas.microsoft.com/office/drawing/2014/main" id="{2564F679-FB5C-4277-AA14-FF9394E8D479}"/>
                </a:ext>
              </a:extLst>
            </p:cNvPr>
            <p:cNvSpPr/>
            <p:nvPr/>
          </p:nvSpPr>
          <p:spPr bwMode="auto">
            <a:xfrm>
              <a:off x="4633913" y="3900488"/>
              <a:ext cx="71438" cy="42862"/>
            </a:xfrm>
            <a:custGeom>
              <a:avLst/>
              <a:gdLst>
                <a:gd name="T0" fmla="*/ 27 w 27"/>
                <a:gd name="T1" fmla="*/ 2 h 17"/>
                <a:gd name="T2" fmla="*/ 2 w 27"/>
                <a:gd name="T3" fmla="*/ 16 h 17"/>
                <a:gd name="T4" fmla="*/ 2 w 27"/>
                <a:gd name="T5" fmla="*/ 14 h 17"/>
                <a:gd name="T6" fmla="*/ 25 w 27"/>
                <a:gd name="T7" fmla="*/ 0 h 17"/>
                <a:gd name="T8" fmla="*/ 27 w 27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7">
                  <a:moveTo>
                    <a:pt x="27" y="2"/>
                  </a:moveTo>
                  <a:cubicBezTo>
                    <a:pt x="1" y="17"/>
                    <a:pt x="3" y="16"/>
                    <a:pt x="2" y="16"/>
                  </a:cubicBezTo>
                  <a:cubicBezTo>
                    <a:pt x="1" y="16"/>
                    <a:pt x="0" y="14"/>
                    <a:pt x="2" y="14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7" y="2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2" name="任意多边形 341">
              <a:extLst>
                <a:ext uri="{FF2B5EF4-FFF2-40B4-BE49-F238E27FC236}">
                  <a16:creationId xmlns:a16="http://schemas.microsoft.com/office/drawing/2014/main" id="{4024DB5C-1CE5-4FC6-A550-55B579581985}"/>
                </a:ext>
              </a:extLst>
            </p:cNvPr>
            <p:cNvSpPr/>
            <p:nvPr/>
          </p:nvSpPr>
          <p:spPr bwMode="auto">
            <a:xfrm>
              <a:off x="4678363" y="3925888"/>
              <a:ext cx="71438" cy="44450"/>
            </a:xfrm>
            <a:custGeom>
              <a:avLst/>
              <a:gdLst>
                <a:gd name="T0" fmla="*/ 27 w 27"/>
                <a:gd name="T1" fmla="*/ 2 h 17"/>
                <a:gd name="T2" fmla="*/ 2 w 27"/>
                <a:gd name="T3" fmla="*/ 16 h 17"/>
                <a:gd name="T4" fmla="*/ 1 w 27"/>
                <a:gd name="T5" fmla="*/ 13 h 17"/>
                <a:gd name="T6" fmla="*/ 24 w 27"/>
                <a:gd name="T7" fmla="*/ 0 h 17"/>
                <a:gd name="T8" fmla="*/ 27 w 27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7">
                  <a:moveTo>
                    <a:pt x="27" y="2"/>
                  </a:moveTo>
                  <a:cubicBezTo>
                    <a:pt x="1" y="17"/>
                    <a:pt x="2" y="16"/>
                    <a:pt x="2" y="16"/>
                  </a:cubicBezTo>
                  <a:cubicBezTo>
                    <a:pt x="1" y="16"/>
                    <a:pt x="0" y="14"/>
                    <a:pt x="1" y="13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7" y="2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3" name="任意多边形 342">
              <a:extLst>
                <a:ext uri="{FF2B5EF4-FFF2-40B4-BE49-F238E27FC236}">
                  <a16:creationId xmlns:a16="http://schemas.microsoft.com/office/drawing/2014/main" id="{62F3978A-CA4D-4222-A461-EB314767E95C}"/>
                </a:ext>
              </a:extLst>
            </p:cNvPr>
            <p:cNvSpPr/>
            <p:nvPr/>
          </p:nvSpPr>
          <p:spPr bwMode="auto">
            <a:xfrm>
              <a:off x="4722813" y="3951288"/>
              <a:ext cx="69850" cy="42862"/>
            </a:xfrm>
            <a:custGeom>
              <a:avLst/>
              <a:gdLst>
                <a:gd name="T0" fmla="*/ 27 w 27"/>
                <a:gd name="T1" fmla="*/ 1 h 16"/>
                <a:gd name="T2" fmla="*/ 2 w 27"/>
                <a:gd name="T3" fmla="*/ 16 h 16"/>
                <a:gd name="T4" fmla="*/ 1 w 27"/>
                <a:gd name="T5" fmla="*/ 13 h 16"/>
                <a:gd name="T6" fmla="*/ 24 w 27"/>
                <a:gd name="T7" fmla="*/ 0 h 16"/>
                <a:gd name="T8" fmla="*/ 27 w 27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1"/>
                  </a:moveTo>
                  <a:cubicBezTo>
                    <a:pt x="0" y="16"/>
                    <a:pt x="2" y="16"/>
                    <a:pt x="2" y="16"/>
                  </a:cubicBezTo>
                  <a:cubicBezTo>
                    <a:pt x="0" y="16"/>
                    <a:pt x="0" y="14"/>
                    <a:pt x="1" y="13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7" y="1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4" name="任意多边形 343">
              <a:extLst>
                <a:ext uri="{FF2B5EF4-FFF2-40B4-BE49-F238E27FC236}">
                  <a16:creationId xmlns:a16="http://schemas.microsoft.com/office/drawing/2014/main" id="{4554D47A-DF90-497F-B15B-F3225F603874}"/>
                </a:ext>
              </a:extLst>
            </p:cNvPr>
            <p:cNvSpPr/>
            <p:nvPr/>
          </p:nvSpPr>
          <p:spPr bwMode="auto">
            <a:xfrm>
              <a:off x="4764088" y="3975100"/>
              <a:ext cx="73025" cy="44450"/>
            </a:xfrm>
            <a:custGeom>
              <a:avLst/>
              <a:gdLst>
                <a:gd name="T0" fmla="*/ 28 w 28"/>
                <a:gd name="T1" fmla="*/ 2 h 17"/>
                <a:gd name="T2" fmla="*/ 2 w 28"/>
                <a:gd name="T3" fmla="*/ 16 h 17"/>
                <a:gd name="T4" fmla="*/ 2 w 28"/>
                <a:gd name="T5" fmla="*/ 14 h 17"/>
                <a:gd name="T6" fmla="*/ 25 w 28"/>
                <a:gd name="T7" fmla="*/ 0 h 17"/>
                <a:gd name="T8" fmla="*/ 28 w 28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2"/>
                  </a:moveTo>
                  <a:cubicBezTo>
                    <a:pt x="1" y="17"/>
                    <a:pt x="3" y="16"/>
                    <a:pt x="2" y="16"/>
                  </a:cubicBezTo>
                  <a:cubicBezTo>
                    <a:pt x="1" y="16"/>
                    <a:pt x="0" y="14"/>
                    <a:pt x="2" y="14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8" y="2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5" name="任意多边形 344">
              <a:extLst>
                <a:ext uri="{FF2B5EF4-FFF2-40B4-BE49-F238E27FC236}">
                  <a16:creationId xmlns:a16="http://schemas.microsoft.com/office/drawing/2014/main" id="{98C4BB1C-7384-4DD8-B14A-3AFB136151E1}"/>
                </a:ext>
              </a:extLst>
            </p:cNvPr>
            <p:cNvSpPr/>
            <p:nvPr/>
          </p:nvSpPr>
          <p:spPr bwMode="auto">
            <a:xfrm>
              <a:off x="4808538" y="4002088"/>
              <a:ext cx="71438" cy="44450"/>
            </a:xfrm>
            <a:custGeom>
              <a:avLst/>
              <a:gdLst>
                <a:gd name="T0" fmla="*/ 27 w 27"/>
                <a:gd name="T1" fmla="*/ 1 h 17"/>
                <a:gd name="T2" fmla="*/ 2 w 27"/>
                <a:gd name="T3" fmla="*/ 16 h 17"/>
                <a:gd name="T4" fmla="*/ 1 w 27"/>
                <a:gd name="T5" fmla="*/ 13 h 17"/>
                <a:gd name="T6" fmla="*/ 24 w 27"/>
                <a:gd name="T7" fmla="*/ 0 h 17"/>
                <a:gd name="T8" fmla="*/ 27 w 27"/>
                <a:gd name="T9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7">
                  <a:moveTo>
                    <a:pt x="27" y="1"/>
                  </a:moveTo>
                  <a:cubicBezTo>
                    <a:pt x="1" y="17"/>
                    <a:pt x="3" y="16"/>
                    <a:pt x="2" y="16"/>
                  </a:cubicBezTo>
                  <a:cubicBezTo>
                    <a:pt x="1" y="16"/>
                    <a:pt x="0" y="14"/>
                    <a:pt x="1" y="13"/>
                  </a:cubicBezTo>
                  <a:cubicBezTo>
                    <a:pt x="25" y="0"/>
                    <a:pt x="24" y="0"/>
                    <a:pt x="24" y="0"/>
                  </a:cubicBezTo>
                  <a:lnTo>
                    <a:pt x="27" y="1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6" name="任意多边形 345">
              <a:extLst>
                <a:ext uri="{FF2B5EF4-FFF2-40B4-BE49-F238E27FC236}">
                  <a16:creationId xmlns:a16="http://schemas.microsoft.com/office/drawing/2014/main" id="{58D135CF-5630-4220-9132-96AA5B524D89}"/>
                </a:ext>
              </a:extLst>
            </p:cNvPr>
            <p:cNvSpPr/>
            <p:nvPr/>
          </p:nvSpPr>
          <p:spPr bwMode="auto">
            <a:xfrm>
              <a:off x="4852988" y="4027488"/>
              <a:ext cx="71438" cy="41275"/>
            </a:xfrm>
            <a:custGeom>
              <a:avLst/>
              <a:gdLst>
                <a:gd name="T0" fmla="*/ 27 w 27"/>
                <a:gd name="T1" fmla="*/ 1 h 16"/>
                <a:gd name="T2" fmla="*/ 2 w 27"/>
                <a:gd name="T3" fmla="*/ 15 h 16"/>
                <a:gd name="T4" fmla="*/ 1 w 27"/>
                <a:gd name="T5" fmla="*/ 13 h 16"/>
                <a:gd name="T6" fmla="*/ 24 w 27"/>
                <a:gd name="T7" fmla="*/ 0 h 16"/>
                <a:gd name="T8" fmla="*/ 27 w 27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1"/>
                  </a:moveTo>
                  <a:cubicBezTo>
                    <a:pt x="1" y="16"/>
                    <a:pt x="2" y="15"/>
                    <a:pt x="2" y="15"/>
                  </a:cubicBezTo>
                  <a:cubicBezTo>
                    <a:pt x="0" y="15"/>
                    <a:pt x="0" y="14"/>
                    <a:pt x="1" y="13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7" y="1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7" name="任意多边形 346">
              <a:extLst>
                <a:ext uri="{FF2B5EF4-FFF2-40B4-BE49-F238E27FC236}">
                  <a16:creationId xmlns:a16="http://schemas.microsoft.com/office/drawing/2014/main" id="{309E99DC-98E1-4D58-A5D7-166802B46466}"/>
                </a:ext>
              </a:extLst>
            </p:cNvPr>
            <p:cNvSpPr/>
            <p:nvPr/>
          </p:nvSpPr>
          <p:spPr bwMode="auto">
            <a:xfrm>
              <a:off x="4897438" y="4051300"/>
              <a:ext cx="71438" cy="44450"/>
            </a:xfrm>
            <a:custGeom>
              <a:avLst/>
              <a:gdLst>
                <a:gd name="T0" fmla="*/ 27 w 27"/>
                <a:gd name="T1" fmla="*/ 2 h 17"/>
                <a:gd name="T2" fmla="*/ 1 w 27"/>
                <a:gd name="T3" fmla="*/ 16 h 17"/>
                <a:gd name="T4" fmla="*/ 1 w 27"/>
                <a:gd name="T5" fmla="*/ 14 h 17"/>
                <a:gd name="T6" fmla="*/ 24 w 27"/>
                <a:gd name="T7" fmla="*/ 0 h 17"/>
                <a:gd name="T8" fmla="*/ 27 w 27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7">
                  <a:moveTo>
                    <a:pt x="27" y="2"/>
                  </a:moveTo>
                  <a:cubicBezTo>
                    <a:pt x="0" y="17"/>
                    <a:pt x="2" y="16"/>
                    <a:pt x="1" y="16"/>
                  </a:cubicBezTo>
                  <a:cubicBezTo>
                    <a:pt x="0" y="16"/>
                    <a:pt x="0" y="14"/>
                    <a:pt x="1" y="14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7" y="2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8" name="任意多边形 347">
              <a:extLst>
                <a:ext uri="{FF2B5EF4-FFF2-40B4-BE49-F238E27FC236}">
                  <a16:creationId xmlns:a16="http://schemas.microsoft.com/office/drawing/2014/main" id="{60F3CF36-98F7-4269-A71C-B74EB9308FB5}"/>
                </a:ext>
              </a:extLst>
            </p:cNvPr>
            <p:cNvSpPr/>
            <p:nvPr/>
          </p:nvSpPr>
          <p:spPr bwMode="auto">
            <a:xfrm>
              <a:off x="4938713" y="4076700"/>
              <a:ext cx="71438" cy="42862"/>
            </a:xfrm>
            <a:custGeom>
              <a:avLst/>
              <a:gdLst>
                <a:gd name="T0" fmla="*/ 27 w 27"/>
                <a:gd name="T1" fmla="*/ 1 h 16"/>
                <a:gd name="T2" fmla="*/ 2 w 27"/>
                <a:gd name="T3" fmla="*/ 16 h 16"/>
                <a:gd name="T4" fmla="*/ 1 w 27"/>
                <a:gd name="T5" fmla="*/ 13 h 16"/>
                <a:gd name="T6" fmla="*/ 25 w 27"/>
                <a:gd name="T7" fmla="*/ 0 h 16"/>
                <a:gd name="T8" fmla="*/ 27 w 27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6">
                  <a:moveTo>
                    <a:pt x="27" y="1"/>
                  </a:moveTo>
                  <a:cubicBezTo>
                    <a:pt x="1" y="16"/>
                    <a:pt x="3" y="16"/>
                    <a:pt x="2" y="16"/>
                  </a:cubicBezTo>
                  <a:cubicBezTo>
                    <a:pt x="1" y="16"/>
                    <a:pt x="0" y="14"/>
                    <a:pt x="1" y="13"/>
                  </a:cubicBezTo>
                  <a:cubicBezTo>
                    <a:pt x="25" y="0"/>
                    <a:pt x="25" y="0"/>
                    <a:pt x="25" y="0"/>
                  </a:cubicBezTo>
                  <a:lnTo>
                    <a:pt x="27" y="1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9" name="任意多边形 348">
              <a:extLst>
                <a:ext uri="{FF2B5EF4-FFF2-40B4-BE49-F238E27FC236}">
                  <a16:creationId xmlns:a16="http://schemas.microsoft.com/office/drawing/2014/main" id="{B0BD4E1B-9BFF-4FF6-8D11-EF8C36314B12}"/>
                </a:ext>
              </a:extLst>
            </p:cNvPr>
            <p:cNvSpPr/>
            <p:nvPr/>
          </p:nvSpPr>
          <p:spPr bwMode="auto">
            <a:xfrm>
              <a:off x="4983163" y="4100513"/>
              <a:ext cx="71438" cy="44450"/>
            </a:xfrm>
            <a:custGeom>
              <a:avLst/>
              <a:gdLst>
                <a:gd name="T0" fmla="*/ 27 w 27"/>
                <a:gd name="T1" fmla="*/ 2 h 17"/>
                <a:gd name="T2" fmla="*/ 2 w 27"/>
                <a:gd name="T3" fmla="*/ 16 h 17"/>
                <a:gd name="T4" fmla="*/ 1 w 27"/>
                <a:gd name="T5" fmla="*/ 14 h 17"/>
                <a:gd name="T6" fmla="*/ 24 w 27"/>
                <a:gd name="T7" fmla="*/ 0 h 17"/>
                <a:gd name="T8" fmla="*/ 27 w 27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7">
                  <a:moveTo>
                    <a:pt x="27" y="2"/>
                  </a:moveTo>
                  <a:cubicBezTo>
                    <a:pt x="1" y="17"/>
                    <a:pt x="2" y="16"/>
                    <a:pt x="2" y="16"/>
                  </a:cubicBezTo>
                  <a:cubicBezTo>
                    <a:pt x="0" y="16"/>
                    <a:pt x="0" y="15"/>
                    <a:pt x="1" y="14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7" y="2"/>
                  </a:lnTo>
                  <a:close/>
                </a:path>
              </a:pathLst>
            </a:custGeom>
            <a:solidFill>
              <a:srgbClr val="7F54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0" name="任意多边形 349">
              <a:extLst>
                <a:ext uri="{FF2B5EF4-FFF2-40B4-BE49-F238E27FC236}">
                  <a16:creationId xmlns:a16="http://schemas.microsoft.com/office/drawing/2014/main" id="{5BA55327-3C14-4E36-BC9F-2D5E900773BF}"/>
                </a:ext>
              </a:extLst>
            </p:cNvPr>
            <p:cNvSpPr/>
            <p:nvPr/>
          </p:nvSpPr>
          <p:spPr bwMode="auto">
            <a:xfrm>
              <a:off x="4483101" y="4032250"/>
              <a:ext cx="25400" cy="60325"/>
            </a:xfrm>
            <a:custGeom>
              <a:avLst/>
              <a:gdLst>
                <a:gd name="T0" fmla="*/ 10 w 10"/>
                <a:gd name="T1" fmla="*/ 0 h 23"/>
                <a:gd name="T2" fmla="*/ 5 w 10"/>
                <a:gd name="T3" fmla="*/ 7 h 23"/>
                <a:gd name="T4" fmla="*/ 6 w 10"/>
                <a:gd name="T5" fmla="*/ 9 h 23"/>
                <a:gd name="T6" fmla="*/ 3 w 10"/>
                <a:gd name="T7" fmla="*/ 23 h 23"/>
                <a:gd name="T8" fmla="*/ 3 w 10"/>
                <a:gd name="T9" fmla="*/ 23 h 23"/>
                <a:gd name="T10" fmla="*/ 0 w 10"/>
                <a:gd name="T11" fmla="*/ 17 h 23"/>
                <a:gd name="T12" fmla="*/ 10 w 10"/>
                <a:gd name="T13" fmla="*/ 0 h 23"/>
                <a:gd name="T14" fmla="*/ 10 w 10"/>
                <a:gd name="T1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3">
                  <a:moveTo>
                    <a:pt x="10" y="0"/>
                  </a:moveTo>
                  <a:cubicBezTo>
                    <a:pt x="5" y="6"/>
                    <a:pt x="5" y="7"/>
                    <a:pt x="5" y="7"/>
                  </a:cubicBezTo>
                  <a:cubicBezTo>
                    <a:pt x="5" y="7"/>
                    <a:pt x="5" y="7"/>
                    <a:pt x="6" y="9"/>
                  </a:cubicBezTo>
                  <a:cubicBezTo>
                    <a:pt x="4" y="13"/>
                    <a:pt x="2" y="18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1" y="21"/>
                    <a:pt x="0" y="19"/>
                    <a:pt x="0" y="17"/>
                  </a:cubicBezTo>
                  <a:cubicBezTo>
                    <a:pt x="0" y="10"/>
                    <a:pt x="5" y="3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8B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1" name="任意多边形 350">
              <a:extLst>
                <a:ext uri="{FF2B5EF4-FFF2-40B4-BE49-F238E27FC236}">
                  <a16:creationId xmlns:a16="http://schemas.microsoft.com/office/drawing/2014/main" id="{70824D18-FB88-4AA1-A3BC-586530698F86}"/>
                </a:ext>
              </a:extLst>
            </p:cNvPr>
            <p:cNvSpPr/>
            <p:nvPr/>
          </p:nvSpPr>
          <p:spPr bwMode="auto">
            <a:xfrm>
              <a:off x="4986338" y="4332288"/>
              <a:ext cx="33338" cy="26987"/>
            </a:xfrm>
            <a:custGeom>
              <a:avLst/>
              <a:gdLst>
                <a:gd name="T0" fmla="*/ 6 w 13"/>
                <a:gd name="T1" fmla="*/ 1 h 10"/>
                <a:gd name="T2" fmla="*/ 13 w 13"/>
                <a:gd name="T3" fmla="*/ 9 h 10"/>
                <a:gd name="T4" fmla="*/ 12 w 13"/>
                <a:gd name="T5" fmla="*/ 10 h 10"/>
                <a:gd name="T6" fmla="*/ 2 w 13"/>
                <a:gd name="T7" fmla="*/ 8 h 10"/>
                <a:gd name="T8" fmla="*/ 0 w 13"/>
                <a:gd name="T9" fmla="*/ 6 h 10"/>
                <a:gd name="T10" fmla="*/ 4 w 13"/>
                <a:gd name="T11" fmla="*/ 0 h 10"/>
                <a:gd name="T12" fmla="*/ 6 w 13"/>
                <a:gd name="T13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0">
                  <a:moveTo>
                    <a:pt x="6" y="1"/>
                  </a:moveTo>
                  <a:cubicBezTo>
                    <a:pt x="8" y="3"/>
                    <a:pt x="11" y="6"/>
                    <a:pt x="13" y="9"/>
                  </a:cubicBezTo>
                  <a:cubicBezTo>
                    <a:pt x="13" y="9"/>
                    <a:pt x="13" y="10"/>
                    <a:pt x="12" y="10"/>
                  </a:cubicBezTo>
                  <a:cubicBezTo>
                    <a:pt x="9" y="9"/>
                    <a:pt x="5" y="9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4"/>
                    <a:pt x="2" y="1"/>
                    <a:pt x="4" y="0"/>
                  </a:cubicBezTo>
                  <a:cubicBezTo>
                    <a:pt x="5" y="0"/>
                    <a:pt x="6" y="0"/>
                    <a:pt x="6" y="1"/>
                  </a:cubicBezTo>
                </a:path>
              </a:pathLst>
            </a:custGeom>
            <a:solidFill>
              <a:srgbClr val="655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2" name="任意多边形 351">
              <a:extLst>
                <a:ext uri="{FF2B5EF4-FFF2-40B4-BE49-F238E27FC236}">
                  <a16:creationId xmlns:a16="http://schemas.microsoft.com/office/drawing/2014/main" id="{6BFA4222-C77F-4273-B949-349EAE196F0B}"/>
                </a:ext>
              </a:extLst>
            </p:cNvPr>
            <p:cNvSpPr/>
            <p:nvPr/>
          </p:nvSpPr>
          <p:spPr bwMode="auto">
            <a:xfrm>
              <a:off x="4548188" y="4067175"/>
              <a:ext cx="461963" cy="273050"/>
            </a:xfrm>
            <a:custGeom>
              <a:avLst/>
              <a:gdLst>
                <a:gd name="T0" fmla="*/ 21 w 177"/>
                <a:gd name="T1" fmla="*/ 4 h 105"/>
                <a:gd name="T2" fmla="*/ 155 w 177"/>
                <a:gd name="T3" fmla="*/ 82 h 105"/>
                <a:gd name="T4" fmla="*/ 152 w 177"/>
                <a:gd name="T5" fmla="*/ 83 h 105"/>
                <a:gd name="T6" fmla="*/ 152 w 177"/>
                <a:gd name="T7" fmla="*/ 83 h 105"/>
                <a:gd name="T8" fmla="*/ 146 w 177"/>
                <a:gd name="T9" fmla="*/ 88 h 105"/>
                <a:gd name="T10" fmla="*/ 146 w 177"/>
                <a:gd name="T11" fmla="*/ 88 h 105"/>
                <a:gd name="T12" fmla="*/ 142 w 177"/>
                <a:gd name="T13" fmla="*/ 97 h 105"/>
                <a:gd name="T14" fmla="*/ 142 w 177"/>
                <a:gd name="T15" fmla="*/ 102 h 105"/>
                <a:gd name="T16" fmla="*/ 143 w 177"/>
                <a:gd name="T17" fmla="*/ 104 h 105"/>
                <a:gd name="T18" fmla="*/ 144 w 177"/>
                <a:gd name="T19" fmla="*/ 105 h 105"/>
                <a:gd name="T20" fmla="*/ 3 w 177"/>
                <a:gd name="T21" fmla="*/ 24 h 105"/>
                <a:gd name="T22" fmla="*/ 1 w 177"/>
                <a:gd name="T23" fmla="*/ 22 h 105"/>
                <a:gd name="T24" fmla="*/ 1 w 177"/>
                <a:gd name="T25" fmla="*/ 14 h 105"/>
                <a:gd name="T26" fmla="*/ 4 w 177"/>
                <a:gd name="T27" fmla="*/ 8 h 105"/>
                <a:gd name="T28" fmla="*/ 40 w 177"/>
                <a:gd name="T29" fmla="*/ 28 h 105"/>
                <a:gd name="T30" fmla="*/ 45 w 177"/>
                <a:gd name="T31" fmla="*/ 22 h 105"/>
                <a:gd name="T32" fmla="*/ 44 w 177"/>
                <a:gd name="T33" fmla="*/ 21 h 105"/>
                <a:gd name="T34" fmla="*/ 10 w 177"/>
                <a:gd name="T35" fmla="*/ 2 h 105"/>
                <a:gd name="T36" fmla="*/ 16 w 177"/>
                <a:gd name="T37" fmla="*/ 2 h 105"/>
                <a:gd name="T38" fmla="*/ 21 w 177"/>
                <a:gd name="T39" fmla="*/ 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7" h="105">
                  <a:moveTo>
                    <a:pt x="21" y="4"/>
                  </a:moveTo>
                  <a:cubicBezTo>
                    <a:pt x="177" y="94"/>
                    <a:pt x="157" y="82"/>
                    <a:pt x="155" y="82"/>
                  </a:cubicBezTo>
                  <a:cubicBezTo>
                    <a:pt x="154" y="82"/>
                    <a:pt x="153" y="82"/>
                    <a:pt x="152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0" y="84"/>
                    <a:pt x="147" y="86"/>
                    <a:pt x="146" y="88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4" y="91"/>
                    <a:pt x="142" y="94"/>
                    <a:pt x="142" y="97"/>
                  </a:cubicBezTo>
                  <a:cubicBezTo>
                    <a:pt x="141" y="99"/>
                    <a:pt x="141" y="101"/>
                    <a:pt x="142" y="102"/>
                  </a:cubicBezTo>
                  <a:cubicBezTo>
                    <a:pt x="142" y="102"/>
                    <a:pt x="142" y="104"/>
                    <a:pt x="143" y="104"/>
                  </a:cubicBezTo>
                  <a:cubicBezTo>
                    <a:pt x="143" y="104"/>
                    <a:pt x="144" y="105"/>
                    <a:pt x="144" y="105"/>
                  </a:cubicBezTo>
                  <a:cubicBezTo>
                    <a:pt x="0" y="22"/>
                    <a:pt x="3" y="24"/>
                    <a:pt x="3" y="24"/>
                  </a:cubicBezTo>
                  <a:cubicBezTo>
                    <a:pt x="2" y="23"/>
                    <a:pt x="2" y="23"/>
                    <a:pt x="1" y="22"/>
                  </a:cubicBezTo>
                  <a:cubicBezTo>
                    <a:pt x="0" y="19"/>
                    <a:pt x="0" y="16"/>
                    <a:pt x="1" y="14"/>
                  </a:cubicBezTo>
                  <a:cubicBezTo>
                    <a:pt x="2" y="12"/>
                    <a:pt x="3" y="10"/>
                    <a:pt x="4" y="8"/>
                  </a:cubicBezTo>
                  <a:cubicBezTo>
                    <a:pt x="16" y="15"/>
                    <a:pt x="28" y="21"/>
                    <a:pt x="40" y="28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3" y="15"/>
                    <a:pt x="22" y="8"/>
                    <a:pt x="10" y="2"/>
                  </a:cubicBezTo>
                  <a:cubicBezTo>
                    <a:pt x="12" y="1"/>
                    <a:pt x="15" y="0"/>
                    <a:pt x="16" y="2"/>
                  </a:cubicBezTo>
                  <a:cubicBezTo>
                    <a:pt x="18" y="2"/>
                    <a:pt x="19" y="3"/>
                    <a:pt x="21" y="4"/>
                  </a:cubicBezTo>
                </a:path>
              </a:pathLst>
            </a:custGeom>
            <a:solidFill>
              <a:srgbClr val="8B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3" name="任意多边形 352">
              <a:extLst>
                <a:ext uri="{FF2B5EF4-FFF2-40B4-BE49-F238E27FC236}">
                  <a16:creationId xmlns:a16="http://schemas.microsoft.com/office/drawing/2014/main" id="{D4E87F92-0608-4AA8-AA17-2E824A43FBAA}"/>
                </a:ext>
              </a:extLst>
            </p:cNvPr>
            <p:cNvSpPr/>
            <p:nvPr/>
          </p:nvSpPr>
          <p:spPr bwMode="auto">
            <a:xfrm>
              <a:off x="4916488" y="4279900"/>
              <a:ext cx="85725" cy="73025"/>
            </a:xfrm>
            <a:custGeom>
              <a:avLst/>
              <a:gdLst>
                <a:gd name="T0" fmla="*/ 18 w 33"/>
                <a:gd name="T1" fmla="*/ 2 h 28"/>
                <a:gd name="T2" fmla="*/ 18 w 33"/>
                <a:gd name="T3" fmla="*/ 2 h 28"/>
                <a:gd name="T4" fmla="*/ 18 w 33"/>
                <a:gd name="T5" fmla="*/ 2 h 28"/>
                <a:gd name="T6" fmla="*/ 18 w 33"/>
                <a:gd name="T7" fmla="*/ 2 h 28"/>
                <a:gd name="T8" fmla="*/ 6 w 33"/>
                <a:gd name="T9" fmla="*/ 24 h 28"/>
                <a:gd name="T10" fmla="*/ 5 w 33"/>
                <a:gd name="T11" fmla="*/ 24 h 28"/>
                <a:gd name="T12" fmla="*/ 6 w 33"/>
                <a:gd name="T13" fmla="*/ 24 h 28"/>
                <a:gd name="T14" fmla="*/ 29 w 33"/>
                <a:gd name="T15" fmla="*/ 28 h 28"/>
                <a:gd name="T16" fmla="*/ 5 w 33"/>
                <a:gd name="T17" fmla="*/ 24 h 28"/>
                <a:gd name="T18" fmla="*/ 5 w 33"/>
                <a:gd name="T19" fmla="*/ 24 h 28"/>
                <a:gd name="T20" fmla="*/ 5 w 33"/>
                <a:gd name="T21" fmla="*/ 24 h 28"/>
                <a:gd name="T22" fmla="*/ 4 w 33"/>
                <a:gd name="T23" fmla="*/ 24 h 28"/>
                <a:gd name="T24" fmla="*/ 4 w 33"/>
                <a:gd name="T25" fmla="*/ 24 h 28"/>
                <a:gd name="T26" fmla="*/ 2 w 33"/>
                <a:gd name="T27" fmla="*/ 22 h 28"/>
                <a:gd name="T28" fmla="*/ 2 w 33"/>
                <a:gd name="T29" fmla="*/ 22 h 28"/>
                <a:gd name="T30" fmla="*/ 1 w 33"/>
                <a:gd name="T31" fmla="*/ 22 h 28"/>
                <a:gd name="T32" fmla="*/ 1 w 33"/>
                <a:gd name="T33" fmla="*/ 20 h 28"/>
                <a:gd name="T34" fmla="*/ 1 w 33"/>
                <a:gd name="T35" fmla="*/ 19 h 28"/>
                <a:gd name="T36" fmla="*/ 2 w 33"/>
                <a:gd name="T37" fmla="*/ 11 h 28"/>
                <a:gd name="T38" fmla="*/ 2 w 33"/>
                <a:gd name="T39" fmla="*/ 11 h 28"/>
                <a:gd name="T40" fmla="*/ 4 w 33"/>
                <a:gd name="T41" fmla="*/ 7 h 28"/>
                <a:gd name="T42" fmla="*/ 5 w 33"/>
                <a:gd name="T43" fmla="*/ 6 h 28"/>
                <a:gd name="T44" fmla="*/ 12 w 33"/>
                <a:gd name="T45" fmla="*/ 1 h 28"/>
                <a:gd name="T46" fmla="*/ 15 w 33"/>
                <a:gd name="T47" fmla="*/ 0 h 28"/>
                <a:gd name="T48" fmla="*/ 15 w 33"/>
                <a:gd name="T49" fmla="*/ 0 h 28"/>
                <a:gd name="T50" fmla="*/ 16 w 33"/>
                <a:gd name="T51" fmla="*/ 1 h 28"/>
                <a:gd name="T52" fmla="*/ 18 w 33"/>
                <a:gd name="T53" fmla="*/ 2 h 28"/>
                <a:gd name="T54" fmla="*/ 33 w 33"/>
                <a:gd name="T55" fmla="*/ 20 h 28"/>
                <a:gd name="T56" fmla="*/ 31 w 33"/>
                <a:gd name="T57" fmla="*/ 20 h 28"/>
                <a:gd name="T58" fmla="*/ 27 w 33"/>
                <a:gd name="T59" fmla="*/ 26 h 28"/>
                <a:gd name="T60" fmla="*/ 29 w 33"/>
                <a:gd name="T6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" h="28">
                  <a:moveTo>
                    <a:pt x="18" y="2"/>
                  </a:move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2"/>
                  </a:cubicBezTo>
                  <a:moveTo>
                    <a:pt x="6" y="24"/>
                  </a:moveTo>
                  <a:cubicBezTo>
                    <a:pt x="5" y="24"/>
                    <a:pt x="5" y="24"/>
                    <a:pt x="5" y="24"/>
                  </a:cubicBezTo>
                  <a:cubicBezTo>
                    <a:pt x="6" y="24"/>
                    <a:pt x="6" y="24"/>
                    <a:pt x="6" y="24"/>
                  </a:cubicBezTo>
                  <a:moveTo>
                    <a:pt x="29" y="28"/>
                  </a:moveTo>
                  <a:cubicBezTo>
                    <a:pt x="21" y="27"/>
                    <a:pt x="13" y="25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4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23"/>
                    <a:pt x="2" y="23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1"/>
                    <a:pt x="1" y="21"/>
                    <a:pt x="1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6"/>
                    <a:pt x="1" y="14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3" y="8"/>
                    <a:pt x="4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7" y="4"/>
                    <a:pt x="9" y="1"/>
                    <a:pt x="12" y="1"/>
                  </a:cubicBezTo>
                  <a:cubicBezTo>
                    <a:pt x="13" y="0"/>
                    <a:pt x="14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1"/>
                    <a:pt x="17" y="1"/>
                    <a:pt x="18" y="2"/>
                  </a:cubicBezTo>
                  <a:cubicBezTo>
                    <a:pt x="18" y="2"/>
                    <a:pt x="16" y="0"/>
                    <a:pt x="33" y="20"/>
                  </a:cubicBezTo>
                  <a:cubicBezTo>
                    <a:pt x="33" y="20"/>
                    <a:pt x="32" y="20"/>
                    <a:pt x="31" y="20"/>
                  </a:cubicBezTo>
                  <a:cubicBezTo>
                    <a:pt x="29" y="21"/>
                    <a:pt x="27" y="24"/>
                    <a:pt x="27" y="26"/>
                  </a:cubicBezTo>
                  <a:cubicBezTo>
                    <a:pt x="27" y="27"/>
                    <a:pt x="28" y="28"/>
                    <a:pt x="29" y="28"/>
                  </a:cubicBezTo>
                </a:path>
              </a:pathLst>
            </a:custGeom>
            <a:solidFill>
              <a:srgbClr val="D1E2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4" name="任意多边形 353">
              <a:extLst>
                <a:ext uri="{FF2B5EF4-FFF2-40B4-BE49-F238E27FC236}">
                  <a16:creationId xmlns:a16="http://schemas.microsoft.com/office/drawing/2014/main" id="{04DA992A-E592-4F2B-A2EB-53D7FAE9B748}"/>
                </a:ext>
              </a:extLst>
            </p:cNvPr>
            <p:cNvSpPr/>
            <p:nvPr/>
          </p:nvSpPr>
          <p:spPr bwMode="auto">
            <a:xfrm>
              <a:off x="4649788" y="4121150"/>
              <a:ext cx="15875" cy="19050"/>
            </a:xfrm>
            <a:custGeom>
              <a:avLst/>
              <a:gdLst>
                <a:gd name="T0" fmla="*/ 0 w 10"/>
                <a:gd name="T1" fmla="*/ 12 h 12"/>
                <a:gd name="T2" fmla="*/ 8 w 10"/>
                <a:gd name="T3" fmla="*/ 0 h 12"/>
                <a:gd name="T4" fmla="*/ 10 w 10"/>
                <a:gd name="T5" fmla="*/ 2 h 12"/>
                <a:gd name="T6" fmla="*/ 2 w 10"/>
                <a:gd name="T7" fmla="*/ 12 h 12"/>
                <a:gd name="T8" fmla="*/ 0 w 10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lnTo>
                    <a:pt x="8" y="0"/>
                  </a:lnTo>
                  <a:lnTo>
                    <a:pt x="10" y="2"/>
                  </a:lnTo>
                  <a:lnTo>
                    <a:pt x="2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4C6E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5" name="任意多边形 354">
              <a:extLst>
                <a:ext uri="{FF2B5EF4-FFF2-40B4-BE49-F238E27FC236}">
                  <a16:creationId xmlns:a16="http://schemas.microsoft.com/office/drawing/2014/main" id="{86CAEAB5-44A9-428E-9593-2AE728C1B527}"/>
                </a:ext>
              </a:extLst>
            </p:cNvPr>
            <p:cNvSpPr/>
            <p:nvPr/>
          </p:nvSpPr>
          <p:spPr bwMode="auto">
            <a:xfrm>
              <a:off x="4649788" y="4121150"/>
              <a:ext cx="15875" cy="19050"/>
            </a:xfrm>
            <a:custGeom>
              <a:avLst/>
              <a:gdLst>
                <a:gd name="T0" fmla="*/ 0 w 10"/>
                <a:gd name="T1" fmla="*/ 12 h 12"/>
                <a:gd name="T2" fmla="*/ 8 w 10"/>
                <a:gd name="T3" fmla="*/ 0 h 12"/>
                <a:gd name="T4" fmla="*/ 10 w 10"/>
                <a:gd name="T5" fmla="*/ 2 h 12"/>
                <a:gd name="T6" fmla="*/ 2 w 10"/>
                <a:gd name="T7" fmla="*/ 12 h 12"/>
                <a:gd name="T8" fmla="*/ 0 w 10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lnTo>
                    <a:pt x="8" y="0"/>
                  </a:lnTo>
                  <a:lnTo>
                    <a:pt x="10" y="2"/>
                  </a:lnTo>
                  <a:lnTo>
                    <a:pt x="2" y="12"/>
                  </a:lnTo>
                  <a:lnTo>
                    <a:pt x="0" y="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6" name="任意多边形 355">
              <a:extLst>
                <a:ext uri="{FF2B5EF4-FFF2-40B4-BE49-F238E27FC236}">
                  <a16:creationId xmlns:a16="http://schemas.microsoft.com/office/drawing/2014/main" id="{A6396A18-104D-4F6C-BBF4-14F611CC3ADE}"/>
                </a:ext>
              </a:extLst>
            </p:cNvPr>
            <p:cNvSpPr/>
            <p:nvPr/>
          </p:nvSpPr>
          <p:spPr bwMode="auto">
            <a:xfrm>
              <a:off x="4516438" y="4030663"/>
              <a:ext cx="80963" cy="38100"/>
            </a:xfrm>
            <a:custGeom>
              <a:avLst/>
              <a:gdLst>
                <a:gd name="T0" fmla="*/ 9 w 31"/>
                <a:gd name="T1" fmla="*/ 1 h 15"/>
                <a:gd name="T2" fmla="*/ 30 w 31"/>
                <a:gd name="T3" fmla="*/ 13 h 15"/>
                <a:gd name="T4" fmla="*/ 21 w 31"/>
                <a:gd name="T5" fmla="*/ 15 h 15"/>
                <a:gd name="T6" fmla="*/ 0 w 31"/>
                <a:gd name="T7" fmla="*/ 3 h 15"/>
                <a:gd name="T8" fmla="*/ 2 w 31"/>
                <a:gd name="T9" fmla="*/ 1 h 15"/>
                <a:gd name="T10" fmla="*/ 9 w 31"/>
                <a:gd name="T1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15">
                  <a:moveTo>
                    <a:pt x="9" y="1"/>
                  </a:moveTo>
                  <a:cubicBezTo>
                    <a:pt x="31" y="14"/>
                    <a:pt x="30" y="13"/>
                    <a:pt x="30" y="13"/>
                  </a:cubicBezTo>
                  <a:cubicBezTo>
                    <a:pt x="27" y="11"/>
                    <a:pt x="23" y="13"/>
                    <a:pt x="21" y="15"/>
                  </a:cubicBezTo>
                  <a:cubicBezTo>
                    <a:pt x="14" y="11"/>
                    <a:pt x="7" y="7"/>
                    <a:pt x="0" y="3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4" y="0"/>
                    <a:pt x="7" y="0"/>
                    <a:pt x="9" y="1"/>
                  </a:cubicBezTo>
                </a:path>
              </a:pathLst>
            </a:custGeom>
            <a:solidFill>
              <a:srgbClr val="BBE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7" name="任意多边形 356">
              <a:extLst>
                <a:ext uri="{FF2B5EF4-FFF2-40B4-BE49-F238E27FC236}">
                  <a16:creationId xmlns:a16="http://schemas.microsoft.com/office/drawing/2014/main" id="{B67FB4D7-E8E2-4A37-8973-35D4D13EECD1}"/>
                </a:ext>
              </a:extLst>
            </p:cNvPr>
            <p:cNvSpPr/>
            <p:nvPr/>
          </p:nvSpPr>
          <p:spPr bwMode="auto">
            <a:xfrm>
              <a:off x="4572001" y="4059238"/>
              <a:ext cx="31750" cy="17462"/>
            </a:xfrm>
            <a:custGeom>
              <a:avLst/>
              <a:gdLst>
                <a:gd name="T0" fmla="*/ 0 w 12"/>
                <a:gd name="T1" fmla="*/ 4 h 7"/>
                <a:gd name="T2" fmla="*/ 9 w 12"/>
                <a:gd name="T3" fmla="*/ 2 h 7"/>
                <a:gd name="T4" fmla="*/ 12 w 12"/>
                <a:gd name="T5" fmla="*/ 7 h 7"/>
                <a:gd name="T6" fmla="*/ 7 w 12"/>
                <a:gd name="T7" fmla="*/ 4 h 7"/>
                <a:gd name="T8" fmla="*/ 1 w 12"/>
                <a:gd name="T9" fmla="*/ 5 h 7"/>
                <a:gd name="T10" fmla="*/ 0 w 12"/>
                <a:gd name="T1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7">
                  <a:moveTo>
                    <a:pt x="0" y="4"/>
                  </a:moveTo>
                  <a:cubicBezTo>
                    <a:pt x="2" y="2"/>
                    <a:pt x="6" y="0"/>
                    <a:pt x="9" y="2"/>
                  </a:cubicBezTo>
                  <a:cubicBezTo>
                    <a:pt x="11" y="3"/>
                    <a:pt x="11" y="5"/>
                    <a:pt x="12" y="7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3"/>
                    <a:pt x="3" y="4"/>
                    <a:pt x="1" y="5"/>
                  </a:cubicBezTo>
                  <a:cubicBezTo>
                    <a:pt x="1" y="4"/>
                    <a:pt x="0" y="4"/>
                    <a:pt x="0" y="4"/>
                  </a:cubicBezTo>
                </a:path>
              </a:pathLst>
            </a:custGeom>
            <a:solidFill>
              <a:srgbClr val="71A7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8" name="任意多边形 357">
              <a:extLst>
                <a:ext uri="{FF2B5EF4-FFF2-40B4-BE49-F238E27FC236}">
                  <a16:creationId xmlns:a16="http://schemas.microsoft.com/office/drawing/2014/main" id="{B7058467-F545-4F2E-8740-8FFCE4D9E7FE}"/>
                </a:ext>
              </a:extLst>
            </p:cNvPr>
            <p:cNvSpPr/>
            <p:nvPr/>
          </p:nvSpPr>
          <p:spPr bwMode="auto">
            <a:xfrm>
              <a:off x="4543426" y="4084638"/>
              <a:ext cx="25400" cy="55562"/>
            </a:xfrm>
            <a:custGeom>
              <a:avLst/>
              <a:gdLst>
                <a:gd name="T0" fmla="*/ 1 w 10"/>
                <a:gd name="T1" fmla="*/ 13 h 21"/>
                <a:gd name="T2" fmla="*/ 5 w 10"/>
                <a:gd name="T3" fmla="*/ 0 h 21"/>
                <a:gd name="T4" fmla="*/ 5 w 10"/>
                <a:gd name="T5" fmla="*/ 0 h 21"/>
                <a:gd name="T6" fmla="*/ 6 w 10"/>
                <a:gd name="T7" fmla="*/ 1 h 21"/>
                <a:gd name="T8" fmla="*/ 3 w 10"/>
                <a:gd name="T9" fmla="*/ 7 h 21"/>
                <a:gd name="T10" fmla="*/ 3 w 10"/>
                <a:gd name="T11" fmla="*/ 15 h 21"/>
                <a:gd name="T12" fmla="*/ 5 w 10"/>
                <a:gd name="T13" fmla="*/ 17 h 21"/>
                <a:gd name="T14" fmla="*/ 5 w 10"/>
                <a:gd name="T15" fmla="*/ 17 h 21"/>
                <a:gd name="T16" fmla="*/ 10 w 10"/>
                <a:gd name="T17" fmla="*/ 20 h 21"/>
                <a:gd name="T18" fmla="*/ 4 w 10"/>
                <a:gd name="T19" fmla="*/ 19 h 21"/>
                <a:gd name="T20" fmla="*/ 1 w 10"/>
                <a:gd name="T2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1">
                  <a:moveTo>
                    <a:pt x="1" y="13"/>
                  </a:moveTo>
                  <a:cubicBezTo>
                    <a:pt x="0" y="8"/>
                    <a:pt x="2" y="4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5" y="3"/>
                    <a:pt x="4" y="5"/>
                    <a:pt x="3" y="7"/>
                  </a:cubicBezTo>
                  <a:cubicBezTo>
                    <a:pt x="2" y="9"/>
                    <a:pt x="2" y="12"/>
                    <a:pt x="3" y="15"/>
                  </a:cubicBezTo>
                  <a:cubicBezTo>
                    <a:pt x="4" y="16"/>
                    <a:pt x="4" y="16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8"/>
                    <a:pt x="8" y="19"/>
                    <a:pt x="10" y="20"/>
                  </a:cubicBezTo>
                  <a:cubicBezTo>
                    <a:pt x="8" y="20"/>
                    <a:pt x="6" y="21"/>
                    <a:pt x="4" y="19"/>
                  </a:cubicBezTo>
                  <a:cubicBezTo>
                    <a:pt x="1" y="18"/>
                    <a:pt x="1" y="15"/>
                    <a:pt x="1" y="13"/>
                  </a:cubicBezTo>
                </a:path>
              </a:pathLst>
            </a:custGeom>
            <a:solidFill>
              <a:srgbClr val="71A7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9" name="任意多边形 358">
              <a:extLst>
                <a:ext uri="{FF2B5EF4-FFF2-40B4-BE49-F238E27FC236}">
                  <a16:creationId xmlns:a16="http://schemas.microsoft.com/office/drawing/2014/main" id="{EBCC32BB-E973-4389-BDA5-ACFD771A780E}"/>
                </a:ext>
              </a:extLst>
            </p:cNvPr>
            <p:cNvSpPr/>
            <p:nvPr/>
          </p:nvSpPr>
          <p:spPr bwMode="auto">
            <a:xfrm>
              <a:off x="4508501" y="4030663"/>
              <a:ext cx="15875" cy="7937"/>
            </a:xfrm>
            <a:custGeom>
              <a:avLst/>
              <a:gdLst>
                <a:gd name="T0" fmla="*/ 0 w 6"/>
                <a:gd name="T1" fmla="*/ 1 h 3"/>
                <a:gd name="T2" fmla="*/ 6 w 6"/>
                <a:gd name="T3" fmla="*/ 1 h 3"/>
                <a:gd name="T4" fmla="*/ 6 w 6"/>
                <a:gd name="T5" fmla="*/ 1 h 3"/>
                <a:gd name="T6" fmla="*/ 3 w 6"/>
                <a:gd name="T7" fmla="*/ 3 h 3"/>
                <a:gd name="T8" fmla="*/ 0 w 6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4" y="2"/>
                    <a:pt x="3" y="3"/>
                  </a:cubicBezTo>
                  <a:cubicBezTo>
                    <a:pt x="1" y="2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8B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0" name="任意多边形 359">
              <a:extLst>
                <a:ext uri="{FF2B5EF4-FFF2-40B4-BE49-F238E27FC236}">
                  <a16:creationId xmlns:a16="http://schemas.microsoft.com/office/drawing/2014/main" id="{32344C5A-F90F-4488-8544-88BBDD6277EC}"/>
                </a:ext>
              </a:extLst>
            </p:cNvPr>
            <p:cNvSpPr/>
            <p:nvPr/>
          </p:nvSpPr>
          <p:spPr bwMode="auto">
            <a:xfrm>
              <a:off x="4487863" y="4052888"/>
              <a:ext cx="68263" cy="84137"/>
            </a:xfrm>
            <a:custGeom>
              <a:avLst/>
              <a:gdLst>
                <a:gd name="T0" fmla="*/ 4 w 26"/>
                <a:gd name="T1" fmla="*/ 20 h 32"/>
                <a:gd name="T2" fmla="*/ 1 w 26"/>
                <a:gd name="T3" fmla="*/ 15 h 32"/>
                <a:gd name="T4" fmla="*/ 5 w 26"/>
                <a:gd name="T5" fmla="*/ 0 h 32"/>
                <a:gd name="T6" fmla="*/ 26 w 26"/>
                <a:gd name="T7" fmla="*/ 12 h 32"/>
                <a:gd name="T8" fmla="*/ 22 w 26"/>
                <a:gd name="T9" fmla="*/ 25 h 32"/>
                <a:gd name="T10" fmla="*/ 25 w 26"/>
                <a:gd name="T11" fmla="*/ 31 h 32"/>
                <a:gd name="T12" fmla="*/ 4 w 26"/>
                <a:gd name="T13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2">
                  <a:moveTo>
                    <a:pt x="4" y="20"/>
                  </a:moveTo>
                  <a:cubicBezTo>
                    <a:pt x="3" y="19"/>
                    <a:pt x="2" y="17"/>
                    <a:pt x="1" y="15"/>
                  </a:cubicBezTo>
                  <a:cubicBezTo>
                    <a:pt x="0" y="10"/>
                    <a:pt x="2" y="4"/>
                    <a:pt x="5" y="0"/>
                  </a:cubicBezTo>
                  <a:cubicBezTo>
                    <a:pt x="12" y="4"/>
                    <a:pt x="19" y="8"/>
                    <a:pt x="26" y="12"/>
                  </a:cubicBezTo>
                  <a:cubicBezTo>
                    <a:pt x="26" y="12"/>
                    <a:pt x="21" y="18"/>
                    <a:pt x="22" y="25"/>
                  </a:cubicBezTo>
                  <a:cubicBezTo>
                    <a:pt x="22" y="27"/>
                    <a:pt x="22" y="30"/>
                    <a:pt x="25" y="31"/>
                  </a:cubicBezTo>
                  <a:cubicBezTo>
                    <a:pt x="25" y="31"/>
                    <a:pt x="25" y="32"/>
                    <a:pt x="4" y="20"/>
                  </a:cubicBezTo>
                </a:path>
              </a:pathLst>
            </a:custGeom>
            <a:solidFill>
              <a:srgbClr val="BBE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1" name="任意多边形 360">
              <a:extLst>
                <a:ext uri="{FF2B5EF4-FFF2-40B4-BE49-F238E27FC236}">
                  <a16:creationId xmlns:a16="http://schemas.microsoft.com/office/drawing/2014/main" id="{AF1EA6CD-0629-43C7-843B-A9E69B1D8767}"/>
                </a:ext>
              </a:extLst>
            </p:cNvPr>
            <p:cNvSpPr/>
            <p:nvPr/>
          </p:nvSpPr>
          <p:spPr bwMode="auto">
            <a:xfrm>
              <a:off x="4495801" y="4051300"/>
              <a:ext cx="4763" cy="4762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1" y="0"/>
                    <a:pt x="2" y="1"/>
                    <a:pt x="2" y="1"/>
                  </a:cubicBezTo>
                </a:path>
              </a:pathLst>
            </a:custGeom>
            <a:solidFill>
              <a:srgbClr val="4C6E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2" name="任意多边形 361">
              <a:extLst>
                <a:ext uri="{FF2B5EF4-FFF2-40B4-BE49-F238E27FC236}">
                  <a16:creationId xmlns:a16="http://schemas.microsoft.com/office/drawing/2014/main" id="{8E4E0592-848E-4AA2-9D30-632A64886196}"/>
                </a:ext>
              </a:extLst>
            </p:cNvPr>
            <p:cNvSpPr/>
            <p:nvPr/>
          </p:nvSpPr>
          <p:spPr bwMode="auto">
            <a:xfrm>
              <a:off x="4495801" y="4051300"/>
              <a:ext cx="157163" cy="88900"/>
            </a:xfrm>
            <a:custGeom>
              <a:avLst/>
              <a:gdLst>
                <a:gd name="T0" fmla="*/ 0 w 60"/>
                <a:gd name="T1" fmla="*/ 0 h 34"/>
                <a:gd name="T2" fmla="*/ 1 w 60"/>
                <a:gd name="T3" fmla="*/ 0 h 34"/>
                <a:gd name="T4" fmla="*/ 59 w 60"/>
                <a:gd name="T5" fmla="*/ 34 h 34"/>
                <a:gd name="T6" fmla="*/ 60 w 60"/>
                <a:gd name="T7" fmla="*/ 34 h 34"/>
                <a:gd name="T8" fmla="*/ 0 w 60"/>
                <a:gd name="T9" fmla="*/ 0 h 34"/>
                <a:gd name="T10" fmla="*/ 2 w 60"/>
                <a:gd name="T11" fmla="*/ 2 h 34"/>
                <a:gd name="T12" fmla="*/ 1 w 60"/>
                <a:gd name="T13" fmla="*/ 2 h 34"/>
                <a:gd name="T14" fmla="*/ 0 w 60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34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20" y="11"/>
                    <a:pt x="40" y="22"/>
                    <a:pt x="59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31" y="18"/>
                    <a:pt x="4" y="2"/>
                    <a:pt x="0" y="0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5A8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3" name="任意多边形 362">
              <a:extLst>
                <a:ext uri="{FF2B5EF4-FFF2-40B4-BE49-F238E27FC236}">
                  <a16:creationId xmlns:a16="http://schemas.microsoft.com/office/drawing/2014/main" id="{3B0E335F-3907-479A-A357-85BB088C78B4}"/>
                </a:ext>
              </a:extLst>
            </p:cNvPr>
            <p:cNvSpPr/>
            <p:nvPr/>
          </p:nvSpPr>
          <p:spPr bwMode="auto">
            <a:xfrm>
              <a:off x="4495801" y="40513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46F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4" name="任意多边形 363">
              <a:extLst>
                <a:ext uri="{FF2B5EF4-FFF2-40B4-BE49-F238E27FC236}">
                  <a16:creationId xmlns:a16="http://schemas.microsoft.com/office/drawing/2014/main" id="{1FF9EEB6-AE5B-4789-9264-33656495C2AF}"/>
                </a:ext>
              </a:extLst>
            </p:cNvPr>
            <p:cNvSpPr/>
            <p:nvPr/>
          </p:nvSpPr>
          <p:spPr bwMode="auto">
            <a:xfrm>
              <a:off x="4495801" y="4051300"/>
              <a:ext cx="84138" cy="46037"/>
            </a:xfrm>
            <a:custGeom>
              <a:avLst/>
              <a:gdLst>
                <a:gd name="T0" fmla="*/ 23 w 32"/>
                <a:gd name="T1" fmla="*/ 13 h 18"/>
                <a:gd name="T2" fmla="*/ 23 w 32"/>
                <a:gd name="T3" fmla="*/ 13 h 18"/>
                <a:gd name="T4" fmla="*/ 23 w 32"/>
                <a:gd name="T5" fmla="*/ 13 h 18"/>
                <a:gd name="T6" fmla="*/ 23 w 32"/>
                <a:gd name="T7" fmla="*/ 13 h 18"/>
                <a:gd name="T8" fmla="*/ 23 w 32"/>
                <a:gd name="T9" fmla="*/ 13 h 18"/>
                <a:gd name="T10" fmla="*/ 5 w 32"/>
                <a:gd name="T11" fmla="*/ 2 h 18"/>
                <a:gd name="T12" fmla="*/ 18 w 32"/>
                <a:gd name="T13" fmla="*/ 10 h 18"/>
                <a:gd name="T14" fmla="*/ 5 w 32"/>
                <a:gd name="T15" fmla="*/ 2 h 18"/>
                <a:gd name="T16" fmla="*/ 2 w 32"/>
                <a:gd name="T17" fmla="*/ 2 h 18"/>
                <a:gd name="T18" fmla="*/ 2 w 32"/>
                <a:gd name="T19" fmla="*/ 2 h 18"/>
                <a:gd name="T20" fmla="*/ 2 w 32"/>
                <a:gd name="T21" fmla="*/ 2 h 18"/>
                <a:gd name="T22" fmla="*/ 2 w 32"/>
                <a:gd name="T23" fmla="*/ 2 h 18"/>
                <a:gd name="T24" fmla="*/ 2 w 32"/>
                <a:gd name="T25" fmla="*/ 2 h 18"/>
                <a:gd name="T26" fmla="*/ 3 w 32"/>
                <a:gd name="T27" fmla="*/ 1 h 18"/>
                <a:gd name="T28" fmla="*/ 32 w 32"/>
                <a:gd name="T29" fmla="*/ 18 h 18"/>
                <a:gd name="T30" fmla="*/ 20 w 32"/>
                <a:gd name="T31" fmla="*/ 11 h 18"/>
                <a:gd name="T32" fmla="*/ 3 w 32"/>
                <a:gd name="T33" fmla="*/ 1 h 18"/>
                <a:gd name="T34" fmla="*/ 0 w 32"/>
                <a:gd name="T35" fmla="*/ 0 h 18"/>
                <a:gd name="T36" fmla="*/ 0 w 32"/>
                <a:gd name="T37" fmla="*/ 0 h 18"/>
                <a:gd name="T38" fmla="*/ 1 w 32"/>
                <a:gd name="T39" fmla="*/ 0 h 18"/>
                <a:gd name="T40" fmla="*/ 0 w 32"/>
                <a:gd name="T4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18">
                  <a:moveTo>
                    <a:pt x="23" y="13"/>
                  </a:move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moveTo>
                    <a:pt x="5" y="2"/>
                  </a:moveTo>
                  <a:cubicBezTo>
                    <a:pt x="9" y="5"/>
                    <a:pt x="13" y="7"/>
                    <a:pt x="18" y="10"/>
                  </a:cubicBezTo>
                  <a:cubicBezTo>
                    <a:pt x="12" y="7"/>
                    <a:pt x="8" y="4"/>
                    <a:pt x="5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3" y="1"/>
                  </a:moveTo>
                  <a:cubicBezTo>
                    <a:pt x="12" y="7"/>
                    <a:pt x="22" y="12"/>
                    <a:pt x="32" y="18"/>
                  </a:cubicBezTo>
                  <a:cubicBezTo>
                    <a:pt x="28" y="16"/>
                    <a:pt x="25" y="14"/>
                    <a:pt x="20" y="11"/>
                  </a:cubicBezTo>
                  <a:cubicBezTo>
                    <a:pt x="15" y="8"/>
                    <a:pt x="8" y="4"/>
                    <a:pt x="3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9592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5" name="任意多边形 364">
              <a:extLst>
                <a:ext uri="{FF2B5EF4-FFF2-40B4-BE49-F238E27FC236}">
                  <a16:creationId xmlns:a16="http://schemas.microsoft.com/office/drawing/2014/main" id="{C21C9D7E-0088-4EAA-85C3-E114B940EFAC}"/>
                </a:ext>
              </a:extLst>
            </p:cNvPr>
            <p:cNvSpPr/>
            <p:nvPr/>
          </p:nvSpPr>
          <p:spPr bwMode="auto">
            <a:xfrm>
              <a:off x="4822826" y="4287838"/>
              <a:ext cx="223838" cy="104775"/>
            </a:xfrm>
            <a:custGeom>
              <a:avLst/>
              <a:gdLst>
                <a:gd name="T0" fmla="*/ 3 w 86"/>
                <a:gd name="T1" fmla="*/ 0 h 40"/>
                <a:gd name="T2" fmla="*/ 0 w 86"/>
                <a:gd name="T3" fmla="*/ 2 h 40"/>
                <a:gd name="T4" fmla="*/ 34 w 86"/>
                <a:gd name="T5" fmla="*/ 21 h 40"/>
                <a:gd name="T6" fmla="*/ 48 w 86"/>
                <a:gd name="T7" fmla="*/ 28 h 40"/>
                <a:gd name="T8" fmla="*/ 81 w 86"/>
                <a:gd name="T9" fmla="*/ 38 h 40"/>
                <a:gd name="T10" fmla="*/ 85 w 86"/>
                <a:gd name="T11" fmla="*/ 40 h 40"/>
                <a:gd name="T12" fmla="*/ 86 w 86"/>
                <a:gd name="T13" fmla="*/ 39 h 40"/>
                <a:gd name="T14" fmla="*/ 75 w 86"/>
                <a:gd name="T15" fmla="*/ 27 h 40"/>
                <a:gd name="T16" fmla="*/ 75 w 86"/>
                <a:gd name="T17" fmla="*/ 27 h 40"/>
                <a:gd name="T18" fmla="*/ 65 w 86"/>
                <a:gd name="T19" fmla="*/ 25 h 40"/>
                <a:gd name="T20" fmla="*/ 65 w 86"/>
                <a:gd name="T21" fmla="*/ 25 h 40"/>
                <a:gd name="T22" fmla="*/ 41 w 86"/>
                <a:gd name="T23" fmla="*/ 21 h 40"/>
                <a:gd name="T24" fmla="*/ 41 w 86"/>
                <a:gd name="T25" fmla="*/ 21 h 40"/>
                <a:gd name="T26" fmla="*/ 41 w 86"/>
                <a:gd name="T27" fmla="*/ 21 h 40"/>
                <a:gd name="T28" fmla="*/ 40 w 86"/>
                <a:gd name="T29" fmla="*/ 21 h 40"/>
                <a:gd name="T30" fmla="*/ 40 w 86"/>
                <a:gd name="T31" fmla="*/ 21 h 40"/>
                <a:gd name="T32" fmla="*/ 38 w 86"/>
                <a:gd name="T33" fmla="*/ 19 h 40"/>
                <a:gd name="T34" fmla="*/ 38 w 86"/>
                <a:gd name="T35" fmla="*/ 19 h 40"/>
                <a:gd name="T36" fmla="*/ 37 w 86"/>
                <a:gd name="T37" fmla="*/ 19 h 40"/>
                <a:gd name="T38" fmla="*/ 37 w 86"/>
                <a:gd name="T39" fmla="*/ 17 h 40"/>
                <a:gd name="T40" fmla="*/ 37 w 86"/>
                <a:gd name="T41" fmla="*/ 17 h 40"/>
                <a:gd name="T42" fmla="*/ 37 w 86"/>
                <a:gd name="T43" fmla="*/ 17 h 40"/>
                <a:gd name="T44" fmla="*/ 37 w 86"/>
                <a:gd name="T45" fmla="*/ 17 h 40"/>
                <a:gd name="T46" fmla="*/ 38 w 86"/>
                <a:gd name="T47" fmla="*/ 19 h 40"/>
                <a:gd name="T48" fmla="*/ 39 w 86"/>
                <a:gd name="T49" fmla="*/ 20 h 40"/>
                <a:gd name="T50" fmla="*/ 39 w 86"/>
                <a:gd name="T51" fmla="*/ 20 h 40"/>
                <a:gd name="T52" fmla="*/ 39 w 86"/>
                <a:gd name="T53" fmla="*/ 20 h 40"/>
                <a:gd name="T54" fmla="*/ 3 w 86"/>
                <a:gd name="T5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6" h="40">
                  <a:moveTo>
                    <a:pt x="3" y="0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11" y="8"/>
                    <a:pt x="23" y="15"/>
                    <a:pt x="34" y="21"/>
                  </a:cubicBezTo>
                  <a:cubicBezTo>
                    <a:pt x="39" y="24"/>
                    <a:pt x="43" y="27"/>
                    <a:pt x="48" y="28"/>
                  </a:cubicBezTo>
                  <a:cubicBezTo>
                    <a:pt x="59" y="32"/>
                    <a:pt x="70" y="35"/>
                    <a:pt x="81" y="38"/>
                  </a:cubicBezTo>
                  <a:cubicBezTo>
                    <a:pt x="82" y="39"/>
                    <a:pt x="84" y="39"/>
                    <a:pt x="85" y="40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82" y="35"/>
                    <a:pt x="79" y="31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2" y="26"/>
                    <a:pt x="68" y="26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57" y="24"/>
                    <a:pt x="49" y="22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39" y="20"/>
                    <a:pt x="38" y="20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8"/>
                    <a:pt x="37" y="18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9"/>
                    <a:pt x="38" y="19"/>
                  </a:cubicBezTo>
                  <a:cubicBezTo>
                    <a:pt x="38" y="19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26" y="13"/>
                    <a:pt x="14" y="6"/>
                    <a:pt x="3" y="0"/>
                  </a:cubicBezTo>
                </a:path>
              </a:pathLst>
            </a:custGeom>
            <a:solidFill>
              <a:srgbClr val="B0A7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6" name="任意多边形 365">
              <a:extLst>
                <a:ext uri="{FF2B5EF4-FFF2-40B4-BE49-F238E27FC236}">
                  <a16:creationId xmlns:a16="http://schemas.microsoft.com/office/drawing/2014/main" id="{C43D84EA-3459-4009-899C-57E765DD6CCE}"/>
                </a:ext>
              </a:extLst>
            </p:cNvPr>
            <p:cNvSpPr/>
            <p:nvPr/>
          </p:nvSpPr>
          <p:spPr bwMode="auto">
            <a:xfrm>
              <a:off x="4498976" y="4084638"/>
              <a:ext cx="323850" cy="203200"/>
            </a:xfrm>
            <a:custGeom>
              <a:avLst/>
              <a:gdLst>
                <a:gd name="T0" fmla="*/ 22 w 124"/>
                <a:gd name="T1" fmla="*/ 17 h 78"/>
                <a:gd name="T2" fmla="*/ 22 w 124"/>
                <a:gd name="T3" fmla="*/ 17 h 78"/>
                <a:gd name="T4" fmla="*/ 22 w 124"/>
                <a:gd name="T5" fmla="*/ 17 h 78"/>
                <a:gd name="T6" fmla="*/ 22 w 124"/>
                <a:gd name="T7" fmla="*/ 17 h 78"/>
                <a:gd name="T8" fmla="*/ 61 w 124"/>
                <a:gd name="T9" fmla="*/ 17 h 78"/>
                <a:gd name="T10" fmla="*/ 60 w 124"/>
                <a:gd name="T11" fmla="*/ 18 h 78"/>
                <a:gd name="T12" fmla="*/ 61 w 124"/>
                <a:gd name="T13" fmla="*/ 17 h 78"/>
                <a:gd name="T14" fmla="*/ 0 w 124"/>
                <a:gd name="T15" fmla="*/ 8 h 78"/>
                <a:gd name="T16" fmla="*/ 3 w 124"/>
                <a:gd name="T17" fmla="*/ 10 h 78"/>
                <a:gd name="T18" fmla="*/ 6 w 124"/>
                <a:gd name="T19" fmla="*/ 14 h 78"/>
                <a:gd name="T20" fmla="*/ 23 w 124"/>
                <a:gd name="T21" fmla="*/ 23 h 78"/>
                <a:gd name="T22" fmla="*/ 26 w 124"/>
                <a:gd name="T23" fmla="*/ 25 h 78"/>
                <a:gd name="T24" fmla="*/ 26 w 124"/>
                <a:gd name="T25" fmla="*/ 25 h 78"/>
                <a:gd name="T26" fmla="*/ 27 w 124"/>
                <a:gd name="T27" fmla="*/ 25 h 78"/>
                <a:gd name="T28" fmla="*/ 32 w 124"/>
                <a:gd name="T29" fmla="*/ 27 h 78"/>
                <a:gd name="T30" fmla="*/ 121 w 124"/>
                <a:gd name="T31" fmla="*/ 78 h 78"/>
                <a:gd name="T32" fmla="*/ 124 w 124"/>
                <a:gd name="T33" fmla="*/ 76 h 78"/>
                <a:gd name="T34" fmla="*/ 27 w 124"/>
                <a:gd name="T35" fmla="*/ 20 h 78"/>
                <a:gd name="T36" fmla="*/ 24 w 124"/>
                <a:gd name="T37" fmla="*/ 20 h 78"/>
                <a:gd name="T38" fmla="*/ 21 w 124"/>
                <a:gd name="T39" fmla="*/ 19 h 78"/>
                <a:gd name="T40" fmla="*/ 21 w 124"/>
                <a:gd name="T41" fmla="*/ 19 h 78"/>
                <a:gd name="T42" fmla="*/ 21 w 124"/>
                <a:gd name="T43" fmla="*/ 19 h 78"/>
                <a:gd name="T44" fmla="*/ 0 w 124"/>
                <a:gd name="T45" fmla="*/ 8 h 78"/>
                <a:gd name="T46" fmla="*/ 22 w 124"/>
                <a:gd name="T47" fmla="*/ 0 h 78"/>
                <a:gd name="T48" fmla="*/ 23 w 124"/>
                <a:gd name="T49" fmla="*/ 1 h 78"/>
                <a:gd name="T50" fmla="*/ 20 w 124"/>
                <a:gd name="T51" fmla="*/ 7 h 78"/>
                <a:gd name="T52" fmla="*/ 20 w 124"/>
                <a:gd name="T53" fmla="*/ 11 h 78"/>
                <a:gd name="T54" fmla="*/ 20 w 124"/>
                <a:gd name="T55" fmla="*/ 7 h 78"/>
                <a:gd name="T56" fmla="*/ 23 w 124"/>
                <a:gd name="T57" fmla="*/ 1 h 78"/>
                <a:gd name="T58" fmla="*/ 50 w 124"/>
                <a:gd name="T59" fmla="*/ 16 h 78"/>
                <a:gd name="T60" fmla="*/ 22 w 124"/>
                <a:gd name="T6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4" h="78">
                  <a:moveTo>
                    <a:pt x="22" y="17"/>
                  </a:move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moveTo>
                    <a:pt x="61" y="17"/>
                  </a:moveTo>
                  <a:cubicBezTo>
                    <a:pt x="61" y="17"/>
                    <a:pt x="61" y="18"/>
                    <a:pt x="60" y="18"/>
                  </a:cubicBezTo>
                  <a:cubicBezTo>
                    <a:pt x="61" y="17"/>
                    <a:pt x="61" y="17"/>
                    <a:pt x="61" y="17"/>
                  </a:cubicBezTo>
                  <a:moveTo>
                    <a:pt x="0" y="8"/>
                  </a:moveTo>
                  <a:cubicBezTo>
                    <a:pt x="1" y="8"/>
                    <a:pt x="3" y="9"/>
                    <a:pt x="3" y="10"/>
                  </a:cubicBezTo>
                  <a:cubicBezTo>
                    <a:pt x="3" y="13"/>
                    <a:pt x="4" y="13"/>
                    <a:pt x="6" y="14"/>
                  </a:cubicBezTo>
                  <a:cubicBezTo>
                    <a:pt x="11" y="17"/>
                    <a:pt x="17" y="20"/>
                    <a:pt x="23" y="23"/>
                  </a:cubicBezTo>
                  <a:cubicBezTo>
                    <a:pt x="24" y="24"/>
                    <a:pt x="25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7" y="25"/>
                    <a:pt x="27" y="25"/>
                  </a:cubicBezTo>
                  <a:cubicBezTo>
                    <a:pt x="29" y="25"/>
                    <a:pt x="31" y="26"/>
                    <a:pt x="32" y="27"/>
                  </a:cubicBezTo>
                  <a:cubicBezTo>
                    <a:pt x="62" y="44"/>
                    <a:pt x="91" y="61"/>
                    <a:pt x="121" y="78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59" y="38"/>
                    <a:pt x="35" y="25"/>
                    <a:pt x="27" y="20"/>
                  </a:cubicBezTo>
                  <a:cubicBezTo>
                    <a:pt x="26" y="20"/>
                    <a:pt x="25" y="20"/>
                    <a:pt x="24" y="20"/>
                  </a:cubicBezTo>
                  <a:cubicBezTo>
                    <a:pt x="23" y="20"/>
                    <a:pt x="22" y="20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19"/>
                    <a:pt x="19" y="19"/>
                    <a:pt x="0" y="8"/>
                  </a:cubicBezTo>
                  <a:moveTo>
                    <a:pt x="22" y="0"/>
                  </a:moveTo>
                  <a:cubicBezTo>
                    <a:pt x="22" y="0"/>
                    <a:pt x="23" y="0"/>
                    <a:pt x="23" y="1"/>
                  </a:cubicBezTo>
                  <a:cubicBezTo>
                    <a:pt x="22" y="3"/>
                    <a:pt x="21" y="5"/>
                    <a:pt x="20" y="7"/>
                  </a:cubicBezTo>
                  <a:cubicBezTo>
                    <a:pt x="20" y="8"/>
                    <a:pt x="20" y="10"/>
                    <a:pt x="20" y="11"/>
                  </a:cubicBezTo>
                  <a:cubicBezTo>
                    <a:pt x="20" y="10"/>
                    <a:pt x="20" y="8"/>
                    <a:pt x="20" y="7"/>
                  </a:cubicBezTo>
                  <a:cubicBezTo>
                    <a:pt x="21" y="5"/>
                    <a:pt x="22" y="3"/>
                    <a:pt x="23" y="1"/>
                  </a:cubicBezTo>
                  <a:cubicBezTo>
                    <a:pt x="32" y="6"/>
                    <a:pt x="41" y="11"/>
                    <a:pt x="50" y="16"/>
                  </a:cubicBezTo>
                  <a:cubicBezTo>
                    <a:pt x="40" y="10"/>
                    <a:pt x="30" y="5"/>
                    <a:pt x="22" y="0"/>
                  </a:cubicBezTo>
                </a:path>
              </a:pathLst>
            </a:custGeom>
            <a:solidFill>
              <a:srgbClr val="9592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7" name="任意多边形 366">
              <a:extLst>
                <a:ext uri="{FF2B5EF4-FFF2-40B4-BE49-F238E27FC236}">
                  <a16:creationId xmlns:a16="http://schemas.microsoft.com/office/drawing/2014/main" id="{0B4871D1-8B9B-4C17-BF5D-4BC2AAB1BDEB}"/>
                </a:ext>
              </a:extLst>
            </p:cNvPr>
            <p:cNvSpPr/>
            <p:nvPr/>
          </p:nvSpPr>
          <p:spPr bwMode="auto">
            <a:xfrm>
              <a:off x="4814888" y="4283075"/>
              <a:ext cx="14288" cy="11112"/>
            </a:xfrm>
            <a:custGeom>
              <a:avLst/>
              <a:gdLst>
                <a:gd name="T0" fmla="*/ 3 w 6"/>
                <a:gd name="T1" fmla="*/ 0 h 4"/>
                <a:gd name="T2" fmla="*/ 0 w 6"/>
                <a:gd name="T3" fmla="*/ 2 h 4"/>
                <a:gd name="T4" fmla="*/ 3 w 6"/>
                <a:gd name="T5" fmla="*/ 4 h 4"/>
                <a:gd name="T6" fmla="*/ 6 w 6"/>
                <a:gd name="T7" fmla="*/ 2 h 4"/>
                <a:gd name="T8" fmla="*/ 3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3"/>
                    <a:pt x="3" y="4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5" y="1"/>
                    <a:pt x="4" y="1"/>
                    <a:pt x="3" y="0"/>
                  </a:cubicBezTo>
                </a:path>
              </a:pathLst>
            </a:custGeom>
            <a:solidFill>
              <a:srgbClr val="625C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8" name="任意多边形 367">
              <a:extLst>
                <a:ext uri="{FF2B5EF4-FFF2-40B4-BE49-F238E27FC236}">
                  <a16:creationId xmlns:a16="http://schemas.microsoft.com/office/drawing/2014/main" id="{26B81D0B-65F4-48EC-8993-21174163F318}"/>
                </a:ext>
              </a:extLst>
            </p:cNvPr>
            <p:cNvSpPr/>
            <p:nvPr/>
          </p:nvSpPr>
          <p:spPr bwMode="auto">
            <a:xfrm>
              <a:off x="4986338" y="4351338"/>
              <a:ext cx="31750" cy="7937"/>
            </a:xfrm>
            <a:custGeom>
              <a:avLst/>
              <a:gdLst>
                <a:gd name="T0" fmla="*/ 0 w 12"/>
                <a:gd name="T1" fmla="*/ 0 h 3"/>
                <a:gd name="T2" fmla="*/ 2 w 12"/>
                <a:gd name="T3" fmla="*/ 1 h 3"/>
                <a:gd name="T4" fmla="*/ 2 w 12"/>
                <a:gd name="T5" fmla="*/ 1 h 3"/>
                <a:gd name="T6" fmla="*/ 2 w 12"/>
                <a:gd name="T7" fmla="*/ 1 h 3"/>
                <a:gd name="T8" fmla="*/ 12 w 12"/>
                <a:gd name="T9" fmla="*/ 3 h 3"/>
                <a:gd name="T10" fmla="*/ 12 w 12"/>
                <a:gd name="T11" fmla="*/ 3 h 3"/>
                <a:gd name="T12" fmla="*/ 12 w 12"/>
                <a:gd name="T13" fmla="*/ 3 h 3"/>
                <a:gd name="T14" fmla="*/ 10 w 12"/>
                <a:gd name="T15" fmla="*/ 2 h 3"/>
                <a:gd name="T16" fmla="*/ 0 w 1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">
                  <a:moveTo>
                    <a:pt x="0" y="0"/>
                  </a:moveTo>
                  <a:cubicBezTo>
                    <a:pt x="0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5" y="2"/>
                    <a:pt x="9" y="2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1" y="2"/>
                    <a:pt x="10" y="2"/>
                  </a:cubicBezTo>
                  <a:cubicBezTo>
                    <a:pt x="7" y="1"/>
                    <a:pt x="3" y="0"/>
                    <a:pt x="0" y="0"/>
                  </a:cubicBezTo>
                </a:path>
              </a:pathLst>
            </a:custGeom>
            <a:solidFill>
              <a:srgbClr val="1C1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9" name="任意多边形 368">
              <a:extLst>
                <a:ext uri="{FF2B5EF4-FFF2-40B4-BE49-F238E27FC236}">
                  <a16:creationId xmlns:a16="http://schemas.microsoft.com/office/drawing/2014/main" id="{D112E263-392F-4EC6-82C4-2908FB218D27}"/>
                </a:ext>
              </a:extLst>
            </p:cNvPr>
            <p:cNvSpPr/>
            <p:nvPr/>
          </p:nvSpPr>
          <p:spPr bwMode="auto">
            <a:xfrm>
              <a:off x="4551363" y="4087813"/>
              <a:ext cx="373063" cy="252412"/>
            </a:xfrm>
            <a:custGeom>
              <a:avLst/>
              <a:gdLst>
                <a:gd name="T0" fmla="*/ 143 w 143"/>
                <a:gd name="T1" fmla="*/ 97 h 97"/>
                <a:gd name="T2" fmla="*/ 143 w 143"/>
                <a:gd name="T3" fmla="*/ 97 h 97"/>
                <a:gd name="T4" fmla="*/ 143 w 143"/>
                <a:gd name="T5" fmla="*/ 97 h 97"/>
                <a:gd name="T6" fmla="*/ 3 w 143"/>
                <a:gd name="T7" fmla="*/ 0 h 97"/>
                <a:gd name="T8" fmla="*/ 0 w 143"/>
                <a:gd name="T9" fmla="*/ 6 h 97"/>
                <a:gd name="T10" fmla="*/ 0 w 143"/>
                <a:gd name="T11" fmla="*/ 10 h 97"/>
                <a:gd name="T12" fmla="*/ 0 w 143"/>
                <a:gd name="T13" fmla="*/ 14 h 97"/>
                <a:gd name="T14" fmla="*/ 2 w 143"/>
                <a:gd name="T15" fmla="*/ 16 h 97"/>
                <a:gd name="T16" fmla="*/ 2 w 143"/>
                <a:gd name="T17" fmla="*/ 16 h 97"/>
                <a:gd name="T18" fmla="*/ 2 w 143"/>
                <a:gd name="T19" fmla="*/ 16 h 97"/>
                <a:gd name="T20" fmla="*/ 2 w 143"/>
                <a:gd name="T21" fmla="*/ 16 h 97"/>
                <a:gd name="T22" fmla="*/ 2 w 143"/>
                <a:gd name="T23" fmla="*/ 16 h 97"/>
                <a:gd name="T24" fmla="*/ 2 w 143"/>
                <a:gd name="T25" fmla="*/ 16 h 97"/>
                <a:gd name="T26" fmla="*/ 7 w 143"/>
                <a:gd name="T27" fmla="*/ 19 h 97"/>
                <a:gd name="T28" fmla="*/ 7 w 143"/>
                <a:gd name="T29" fmla="*/ 19 h 97"/>
                <a:gd name="T30" fmla="*/ 104 w 143"/>
                <a:gd name="T31" fmla="*/ 75 h 97"/>
                <a:gd name="T32" fmla="*/ 107 w 143"/>
                <a:gd name="T33" fmla="*/ 77 h 97"/>
                <a:gd name="T34" fmla="*/ 143 w 143"/>
                <a:gd name="T35" fmla="*/ 97 h 97"/>
                <a:gd name="T36" fmla="*/ 142 w 143"/>
                <a:gd name="T37" fmla="*/ 96 h 97"/>
                <a:gd name="T38" fmla="*/ 141 w 143"/>
                <a:gd name="T39" fmla="*/ 94 h 97"/>
                <a:gd name="T40" fmla="*/ 141 w 143"/>
                <a:gd name="T41" fmla="*/ 94 h 97"/>
                <a:gd name="T42" fmla="*/ 137 w 143"/>
                <a:gd name="T43" fmla="*/ 92 h 97"/>
                <a:gd name="T44" fmla="*/ 33 w 143"/>
                <a:gd name="T45" fmla="*/ 32 h 97"/>
                <a:gd name="T46" fmla="*/ 5 w 143"/>
                <a:gd name="T47" fmla="*/ 16 h 97"/>
                <a:gd name="T48" fmla="*/ 2 w 143"/>
                <a:gd name="T49" fmla="*/ 13 h 97"/>
                <a:gd name="T50" fmla="*/ 3 w 143"/>
                <a:gd name="T51" fmla="*/ 2 h 97"/>
                <a:gd name="T52" fmla="*/ 42 w 143"/>
                <a:gd name="T53" fmla="*/ 24 h 97"/>
                <a:gd name="T54" fmla="*/ 47 w 143"/>
                <a:gd name="T55" fmla="*/ 18 h 97"/>
                <a:gd name="T56" fmla="*/ 42 w 143"/>
                <a:gd name="T57" fmla="*/ 16 h 97"/>
                <a:gd name="T58" fmla="*/ 39 w 143"/>
                <a:gd name="T59" fmla="*/ 20 h 97"/>
                <a:gd name="T60" fmla="*/ 39 w 143"/>
                <a:gd name="T61" fmla="*/ 20 h 97"/>
                <a:gd name="T62" fmla="*/ 30 w 143"/>
                <a:gd name="T63" fmla="*/ 15 h 97"/>
                <a:gd name="T64" fmla="*/ 3 w 143"/>
                <a:gd name="T6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3" h="97">
                  <a:moveTo>
                    <a:pt x="143" y="97"/>
                  </a:moveTo>
                  <a:cubicBezTo>
                    <a:pt x="143" y="97"/>
                    <a:pt x="143" y="97"/>
                    <a:pt x="143" y="97"/>
                  </a:cubicBezTo>
                  <a:cubicBezTo>
                    <a:pt x="143" y="97"/>
                    <a:pt x="143" y="97"/>
                    <a:pt x="143" y="97"/>
                  </a:cubicBezTo>
                  <a:moveTo>
                    <a:pt x="3" y="0"/>
                  </a:moveTo>
                  <a:cubicBezTo>
                    <a:pt x="2" y="2"/>
                    <a:pt x="1" y="4"/>
                    <a:pt x="0" y="6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1"/>
                    <a:pt x="0" y="13"/>
                    <a:pt x="0" y="14"/>
                  </a:cubicBezTo>
                  <a:cubicBezTo>
                    <a:pt x="1" y="15"/>
                    <a:pt x="1" y="15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7"/>
                    <a:pt x="5" y="18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5" y="24"/>
                    <a:pt x="39" y="37"/>
                    <a:pt x="104" y="75"/>
                  </a:cubicBezTo>
                  <a:cubicBezTo>
                    <a:pt x="105" y="76"/>
                    <a:pt x="106" y="76"/>
                    <a:pt x="107" y="77"/>
                  </a:cubicBezTo>
                  <a:cubicBezTo>
                    <a:pt x="118" y="83"/>
                    <a:pt x="130" y="90"/>
                    <a:pt x="143" y="97"/>
                  </a:cubicBezTo>
                  <a:cubicBezTo>
                    <a:pt x="143" y="97"/>
                    <a:pt x="142" y="96"/>
                    <a:pt x="142" y="96"/>
                  </a:cubicBezTo>
                  <a:cubicBezTo>
                    <a:pt x="141" y="96"/>
                    <a:pt x="141" y="94"/>
                    <a:pt x="141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39" y="93"/>
                    <a:pt x="138" y="93"/>
                    <a:pt x="137" y="92"/>
                  </a:cubicBezTo>
                  <a:cubicBezTo>
                    <a:pt x="102" y="72"/>
                    <a:pt x="68" y="52"/>
                    <a:pt x="33" y="32"/>
                  </a:cubicBezTo>
                  <a:cubicBezTo>
                    <a:pt x="24" y="27"/>
                    <a:pt x="14" y="21"/>
                    <a:pt x="5" y="16"/>
                  </a:cubicBezTo>
                  <a:cubicBezTo>
                    <a:pt x="4" y="15"/>
                    <a:pt x="2" y="14"/>
                    <a:pt x="2" y="13"/>
                  </a:cubicBezTo>
                  <a:cubicBezTo>
                    <a:pt x="0" y="9"/>
                    <a:pt x="1" y="6"/>
                    <a:pt x="3" y="2"/>
                  </a:cubicBezTo>
                  <a:cubicBezTo>
                    <a:pt x="16" y="10"/>
                    <a:pt x="29" y="17"/>
                    <a:pt x="42" y="24"/>
                  </a:cubicBezTo>
                  <a:cubicBezTo>
                    <a:pt x="43" y="22"/>
                    <a:pt x="45" y="20"/>
                    <a:pt x="47" y="18"/>
                  </a:cubicBezTo>
                  <a:cubicBezTo>
                    <a:pt x="45" y="17"/>
                    <a:pt x="44" y="16"/>
                    <a:pt x="42" y="16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6" y="19"/>
                    <a:pt x="33" y="17"/>
                    <a:pt x="30" y="15"/>
                  </a:cubicBezTo>
                  <a:cubicBezTo>
                    <a:pt x="21" y="10"/>
                    <a:pt x="12" y="5"/>
                    <a:pt x="3" y="0"/>
                  </a:cubicBezTo>
                </a:path>
              </a:pathLst>
            </a:custGeom>
            <a:solidFill>
              <a:srgbClr val="346F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0" name="任意多边形 369">
              <a:extLst>
                <a:ext uri="{FF2B5EF4-FFF2-40B4-BE49-F238E27FC236}">
                  <a16:creationId xmlns:a16="http://schemas.microsoft.com/office/drawing/2014/main" id="{BAA64DFF-4D3C-4CA2-90E4-BC67F0D84B10}"/>
                </a:ext>
              </a:extLst>
            </p:cNvPr>
            <p:cNvSpPr/>
            <p:nvPr/>
          </p:nvSpPr>
          <p:spPr bwMode="auto">
            <a:xfrm>
              <a:off x="4918076" y="4332288"/>
              <a:ext cx="73025" cy="20637"/>
            </a:xfrm>
            <a:custGeom>
              <a:avLst/>
              <a:gdLst>
                <a:gd name="T0" fmla="*/ 5 w 28"/>
                <a:gd name="T1" fmla="*/ 4 h 8"/>
                <a:gd name="T2" fmla="*/ 4 w 28"/>
                <a:gd name="T3" fmla="*/ 4 h 8"/>
                <a:gd name="T4" fmla="*/ 5 w 28"/>
                <a:gd name="T5" fmla="*/ 4 h 8"/>
                <a:gd name="T6" fmla="*/ 0 w 28"/>
                <a:gd name="T7" fmla="*/ 0 h 8"/>
                <a:gd name="T8" fmla="*/ 0 w 28"/>
                <a:gd name="T9" fmla="*/ 0 h 8"/>
                <a:gd name="T10" fmla="*/ 0 w 28"/>
                <a:gd name="T11" fmla="*/ 2 h 8"/>
                <a:gd name="T12" fmla="*/ 1 w 28"/>
                <a:gd name="T13" fmla="*/ 2 h 8"/>
                <a:gd name="T14" fmla="*/ 1 w 28"/>
                <a:gd name="T15" fmla="*/ 2 h 8"/>
                <a:gd name="T16" fmla="*/ 3 w 28"/>
                <a:gd name="T17" fmla="*/ 4 h 8"/>
                <a:gd name="T18" fmla="*/ 3 w 28"/>
                <a:gd name="T19" fmla="*/ 4 h 8"/>
                <a:gd name="T20" fmla="*/ 4 w 28"/>
                <a:gd name="T21" fmla="*/ 4 h 8"/>
                <a:gd name="T22" fmla="*/ 4 w 28"/>
                <a:gd name="T23" fmla="*/ 4 h 8"/>
                <a:gd name="T24" fmla="*/ 4 w 28"/>
                <a:gd name="T25" fmla="*/ 4 h 8"/>
                <a:gd name="T26" fmla="*/ 28 w 28"/>
                <a:gd name="T27" fmla="*/ 8 h 8"/>
                <a:gd name="T28" fmla="*/ 28 w 28"/>
                <a:gd name="T29" fmla="*/ 8 h 8"/>
                <a:gd name="T30" fmla="*/ 26 w 28"/>
                <a:gd name="T31" fmla="*/ 7 h 8"/>
                <a:gd name="T32" fmla="*/ 19 w 28"/>
                <a:gd name="T33" fmla="*/ 5 h 8"/>
                <a:gd name="T34" fmla="*/ 3 w 28"/>
                <a:gd name="T35" fmla="*/ 0 h 8"/>
                <a:gd name="T36" fmla="*/ 0 w 28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" h="8"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2" y="5"/>
                    <a:pt x="20" y="7"/>
                    <a:pt x="28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6" y="7"/>
                    <a:pt x="26" y="7"/>
                  </a:cubicBezTo>
                  <a:cubicBezTo>
                    <a:pt x="24" y="6"/>
                    <a:pt x="21" y="5"/>
                    <a:pt x="19" y="5"/>
                  </a:cubicBezTo>
                  <a:cubicBezTo>
                    <a:pt x="14" y="3"/>
                    <a:pt x="8" y="2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7683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1" name="任意多边形 370">
              <a:extLst>
                <a:ext uri="{FF2B5EF4-FFF2-40B4-BE49-F238E27FC236}">
                  <a16:creationId xmlns:a16="http://schemas.microsoft.com/office/drawing/2014/main" id="{A2420FA3-5D67-477D-828F-58DC82EF4C84}"/>
                </a:ext>
              </a:extLst>
            </p:cNvPr>
            <p:cNvSpPr/>
            <p:nvPr/>
          </p:nvSpPr>
          <p:spPr bwMode="auto">
            <a:xfrm>
              <a:off x="4649788" y="4125913"/>
              <a:ext cx="11113" cy="14287"/>
            </a:xfrm>
            <a:custGeom>
              <a:avLst/>
              <a:gdLst>
                <a:gd name="T0" fmla="*/ 4 w 4"/>
                <a:gd name="T1" fmla="*/ 0 h 5"/>
                <a:gd name="T2" fmla="*/ 3 w 4"/>
                <a:gd name="T3" fmla="*/ 1 h 5"/>
                <a:gd name="T4" fmla="*/ 2 w 4"/>
                <a:gd name="T5" fmla="*/ 2 h 5"/>
                <a:gd name="T6" fmla="*/ 0 w 4"/>
                <a:gd name="T7" fmla="*/ 5 h 5"/>
                <a:gd name="T8" fmla="*/ 0 w 4"/>
                <a:gd name="T9" fmla="*/ 5 h 5"/>
                <a:gd name="T10" fmla="*/ 1 w 4"/>
                <a:gd name="T11" fmla="*/ 5 h 5"/>
                <a:gd name="T12" fmla="*/ 1 w 4"/>
                <a:gd name="T13" fmla="*/ 5 h 5"/>
                <a:gd name="T14" fmla="*/ 4 w 4"/>
                <a:gd name="T15" fmla="*/ 1 h 5"/>
                <a:gd name="T16" fmla="*/ 4 w 4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cubicBezTo>
                    <a:pt x="4" y="0"/>
                    <a:pt x="4" y="0"/>
                    <a:pt x="3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3"/>
                    <a:pt x="1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0F1F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2" name="任意多边形 371">
              <a:extLst>
                <a:ext uri="{FF2B5EF4-FFF2-40B4-BE49-F238E27FC236}">
                  <a16:creationId xmlns:a16="http://schemas.microsoft.com/office/drawing/2014/main" id="{704084A8-318E-480B-AF24-CE3332E1C3F8}"/>
                </a:ext>
              </a:extLst>
            </p:cNvPr>
            <p:cNvSpPr/>
            <p:nvPr/>
          </p:nvSpPr>
          <p:spPr bwMode="auto">
            <a:xfrm>
              <a:off x="4494213" y="4092575"/>
              <a:ext cx="57150" cy="19050"/>
            </a:xfrm>
            <a:custGeom>
              <a:avLst/>
              <a:gdLst>
                <a:gd name="T0" fmla="*/ 0 w 22"/>
                <a:gd name="T1" fmla="*/ 2 h 7"/>
                <a:gd name="T2" fmla="*/ 1 w 22"/>
                <a:gd name="T3" fmla="*/ 3 h 7"/>
                <a:gd name="T4" fmla="*/ 0 w 22"/>
                <a:gd name="T5" fmla="*/ 2 h 7"/>
                <a:gd name="T6" fmla="*/ 22 w 22"/>
                <a:gd name="T7" fmla="*/ 0 h 7"/>
                <a:gd name="T8" fmla="*/ 20 w 22"/>
                <a:gd name="T9" fmla="*/ 7 h 7"/>
                <a:gd name="T10" fmla="*/ 20 w 22"/>
                <a:gd name="T11" fmla="*/ 7 h 7"/>
                <a:gd name="T12" fmla="*/ 22 w 22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7">
                  <a:moveTo>
                    <a:pt x="0" y="2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moveTo>
                    <a:pt x="22" y="0"/>
                  </a:moveTo>
                  <a:cubicBezTo>
                    <a:pt x="21" y="2"/>
                    <a:pt x="20" y="4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5"/>
                    <a:pt x="21" y="2"/>
                    <a:pt x="22" y="0"/>
                  </a:cubicBezTo>
                </a:path>
              </a:pathLst>
            </a:custGeom>
            <a:solidFill>
              <a:srgbClr val="9592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3" name="任意多边形 372">
              <a:extLst>
                <a:ext uri="{FF2B5EF4-FFF2-40B4-BE49-F238E27FC236}">
                  <a16:creationId xmlns:a16="http://schemas.microsoft.com/office/drawing/2014/main" id="{8E8969AE-B767-44EB-98EB-438BFC7353C6}"/>
                </a:ext>
              </a:extLst>
            </p:cNvPr>
            <p:cNvSpPr/>
            <p:nvPr/>
          </p:nvSpPr>
          <p:spPr bwMode="auto">
            <a:xfrm>
              <a:off x="4543426" y="4084638"/>
              <a:ext cx="25400" cy="52387"/>
            </a:xfrm>
            <a:custGeom>
              <a:avLst/>
              <a:gdLst>
                <a:gd name="T0" fmla="*/ 5 w 10"/>
                <a:gd name="T1" fmla="*/ 0 h 20"/>
                <a:gd name="T2" fmla="*/ 5 w 10"/>
                <a:gd name="T3" fmla="*/ 0 h 20"/>
                <a:gd name="T4" fmla="*/ 5 w 10"/>
                <a:gd name="T5" fmla="*/ 0 h 20"/>
                <a:gd name="T6" fmla="*/ 3 w 10"/>
                <a:gd name="T7" fmla="*/ 3 h 20"/>
                <a:gd name="T8" fmla="*/ 1 w 10"/>
                <a:gd name="T9" fmla="*/ 10 h 20"/>
                <a:gd name="T10" fmla="*/ 1 w 10"/>
                <a:gd name="T11" fmla="*/ 15 h 20"/>
                <a:gd name="T12" fmla="*/ 4 w 10"/>
                <a:gd name="T13" fmla="*/ 19 h 20"/>
                <a:gd name="T14" fmla="*/ 4 w 10"/>
                <a:gd name="T15" fmla="*/ 19 h 20"/>
                <a:gd name="T16" fmla="*/ 4 w 10"/>
                <a:gd name="T17" fmla="*/ 19 h 20"/>
                <a:gd name="T18" fmla="*/ 7 w 10"/>
                <a:gd name="T19" fmla="*/ 20 h 20"/>
                <a:gd name="T20" fmla="*/ 10 w 10"/>
                <a:gd name="T21" fmla="*/ 20 h 20"/>
                <a:gd name="T22" fmla="*/ 10 w 10"/>
                <a:gd name="T23" fmla="*/ 20 h 20"/>
                <a:gd name="T24" fmla="*/ 5 w 10"/>
                <a:gd name="T25" fmla="*/ 17 h 20"/>
                <a:gd name="T26" fmla="*/ 5 w 10"/>
                <a:gd name="T27" fmla="*/ 17 h 20"/>
                <a:gd name="T28" fmla="*/ 5 w 10"/>
                <a:gd name="T29" fmla="*/ 17 h 20"/>
                <a:gd name="T30" fmla="*/ 5 w 10"/>
                <a:gd name="T31" fmla="*/ 17 h 20"/>
                <a:gd name="T32" fmla="*/ 3 w 10"/>
                <a:gd name="T33" fmla="*/ 15 h 20"/>
                <a:gd name="T34" fmla="*/ 3 w 10"/>
                <a:gd name="T35" fmla="*/ 11 h 20"/>
                <a:gd name="T36" fmla="*/ 3 w 10"/>
                <a:gd name="T37" fmla="*/ 7 h 20"/>
                <a:gd name="T38" fmla="*/ 6 w 10"/>
                <a:gd name="T39" fmla="*/ 1 h 20"/>
                <a:gd name="T40" fmla="*/ 5 w 10"/>
                <a:gd name="T41" fmla="*/ 0 h 20"/>
                <a:gd name="T42" fmla="*/ 5 w 10"/>
                <a:gd name="T4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20">
                  <a:moveTo>
                    <a:pt x="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1"/>
                    <a:pt x="3" y="3"/>
                  </a:cubicBezTo>
                  <a:cubicBezTo>
                    <a:pt x="2" y="5"/>
                    <a:pt x="1" y="8"/>
                    <a:pt x="1" y="10"/>
                  </a:cubicBezTo>
                  <a:cubicBezTo>
                    <a:pt x="0" y="12"/>
                    <a:pt x="1" y="14"/>
                    <a:pt x="1" y="15"/>
                  </a:cubicBezTo>
                  <a:cubicBezTo>
                    <a:pt x="1" y="17"/>
                    <a:pt x="2" y="18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20"/>
                    <a:pt x="6" y="20"/>
                    <a:pt x="7" y="20"/>
                  </a:cubicBezTo>
                  <a:cubicBezTo>
                    <a:pt x="8" y="20"/>
                    <a:pt x="9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19"/>
                    <a:pt x="6" y="18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6"/>
                    <a:pt x="4" y="16"/>
                    <a:pt x="3" y="15"/>
                  </a:cubicBezTo>
                  <a:cubicBezTo>
                    <a:pt x="3" y="14"/>
                    <a:pt x="3" y="12"/>
                    <a:pt x="3" y="11"/>
                  </a:cubicBezTo>
                  <a:cubicBezTo>
                    <a:pt x="3" y="10"/>
                    <a:pt x="3" y="8"/>
                    <a:pt x="3" y="7"/>
                  </a:cubicBezTo>
                  <a:cubicBezTo>
                    <a:pt x="4" y="5"/>
                    <a:pt x="5" y="3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234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4" name="任意多边形 373">
              <a:extLst>
                <a:ext uri="{FF2B5EF4-FFF2-40B4-BE49-F238E27FC236}">
                  <a16:creationId xmlns:a16="http://schemas.microsoft.com/office/drawing/2014/main" id="{D89574B4-752D-46DE-843D-591C40F8D1C2}"/>
                </a:ext>
              </a:extLst>
            </p:cNvPr>
            <p:cNvSpPr/>
            <p:nvPr/>
          </p:nvSpPr>
          <p:spPr bwMode="auto">
            <a:xfrm>
              <a:off x="4494213" y="4052888"/>
              <a:ext cx="61913" cy="80962"/>
            </a:xfrm>
            <a:custGeom>
              <a:avLst/>
              <a:gdLst>
                <a:gd name="T0" fmla="*/ 0 w 24"/>
                <a:gd name="T1" fmla="*/ 16 h 31"/>
                <a:gd name="T2" fmla="*/ 0 w 24"/>
                <a:gd name="T3" fmla="*/ 17 h 31"/>
                <a:gd name="T4" fmla="*/ 1 w 24"/>
                <a:gd name="T5" fmla="*/ 18 h 31"/>
                <a:gd name="T6" fmla="*/ 2 w 24"/>
                <a:gd name="T7" fmla="*/ 20 h 31"/>
                <a:gd name="T8" fmla="*/ 2 w 24"/>
                <a:gd name="T9" fmla="*/ 20 h 31"/>
                <a:gd name="T10" fmla="*/ 23 w 24"/>
                <a:gd name="T11" fmla="*/ 31 h 31"/>
                <a:gd name="T12" fmla="*/ 23 w 24"/>
                <a:gd name="T13" fmla="*/ 31 h 31"/>
                <a:gd name="T14" fmla="*/ 23 w 24"/>
                <a:gd name="T15" fmla="*/ 31 h 31"/>
                <a:gd name="T16" fmla="*/ 20 w 24"/>
                <a:gd name="T17" fmla="*/ 27 h 31"/>
                <a:gd name="T18" fmla="*/ 20 w 24"/>
                <a:gd name="T19" fmla="*/ 28 h 31"/>
                <a:gd name="T20" fmla="*/ 0 w 24"/>
                <a:gd name="T21" fmla="*/ 16 h 31"/>
                <a:gd name="T22" fmla="*/ 2 w 24"/>
                <a:gd name="T23" fmla="*/ 1 h 31"/>
                <a:gd name="T24" fmla="*/ 2 w 24"/>
                <a:gd name="T25" fmla="*/ 1 h 31"/>
                <a:gd name="T26" fmla="*/ 2 w 24"/>
                <a:gd name="T27" fmla="*/ 1 h 31"/>
                <a:gd name="T28" fmla="*/ 3 w 24"/>
                <a:gd name="T29" fmla="*/ 0 h 31"/>
                <a:gd name="T30" fmla="*/ 3 w 24"/>
                <a:gd name="T31" fmla="*/ 1 h 31"/>
                <a:gd name="T32" fmla="*/ 3 w 24"/>
                <a:gd name="T33" fmla="*/ 1 h 31"/>
                <a:gd name="T34" fmla="*/ 2 w 24"/>
                <a:gd name="T35" fmla="*/ 1 h 31"/>
                <a:gd name="T36" fmla="*/ 23 w 24"/>
                <a:gd name="T37" fmla="*/ 13 h 31"/>
                <a:gd name="T38" fmla="*/ 20 w 24"/>
                <a:gd name="T39" fmla="*/ 22 h 31"/>
                <a:gd name="T40" fmla="*/ 22 w 24"/>
                <a:gd name="T41" fmla="*/ 15 h 31"/>
                <a:gd name="T42" fmla="*/ 24 w 24"/>
                <a:gd name="T43" fmla="*/ 12 h 31"/>
                <a:gd name="T44" fmla="*/ 24 w 24"/>
                <a:gd name="T45" fmla="*/ 12 h 31"/>
                <a:gd name="T46" fmla="*/ 19 w 24"/>
                <a:gd name="T47" fmla="*/ 9 h 31"/>
                <a:gd name="T48" fmla="*/ 6 w 24"/>
                <a:gd name="T49" fmla="*/ 1 h 31"/>
                <a:gd name="T50" fmla="*/ 3 w 24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" h="31">
                  <a:moveTo>
                    <a:pt x="0" y="16"/>
                  </a:moveTo>
                  <a:cubicBezTo>
                    <a:pt x="0" y="16"/>
                    <a:pt x="0" y="17"/>
                    <a:pt x="0" y="17"/>
                  </a:cubicBezTo>
                  <a:cubicBezTo>
                    <a:pt x="0" y="17"/>
                    <a:pt x="0" y="18"/>
                    <a:pt x="1" y="18"/>
                  </a:cubicBezTo>
                  <a:cubicBezTo>
                    <a:pt x="1" y="19"/>
                    <a:pt x="2" y="19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1" y="31"/>
                    <a:pt x="22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1" y="30"/>
                    <a:pt x="20" y="29"/>
                    <a:pt x="20" y="27"/>
                  </a:cubicBezTo>
                  <a:cubicBezTo>
                    <a:pt x="20" y="27"/>
                    <a:pt x="20" y="27"/>
                    <a:pt x="20" y="28"/>
                  </a:cubicBezTo>
                  <a:cubicBezTo>
                    <a:pt x="13" y="24"/>
                    <a:pt x="7" y="20"/>
                    <a:pt x="0" y="16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moveTo>
                    <a:pt x="3" y="0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9" y="5"/>
                    <a:pt x="16" y="9"/>
                    <a:pt x="23" y="13"/>
                  </a:cubicBezTo>
                  <a:cubicBezTo>
                    <a:pt x="21" y="16"/>
                    <a:pt x="20" y="19"/>
                    <a:pt x="20" y="22"/>
                  </a:cubicBezTo>
                  <a:cubicBezTo>
                    <a:pt x="20" y="19"/>
                    <a:pt x="21" y="17"/>
                    <a:pt x="22" y="15"/>
                  </a:cubicBezTo>
                  <a:cubicBezTo>
                    <a:pt x="23" y="13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2" y="11"/>
                    <a:pt x="20" y="10"/>
                    <a:pt x="19" y="9"/>
                  </a:cubicBezTo>
                  <a:cubicBezTo>
                    <a:pt x="14" y="6"/>
                    <a:pt x="10" y="4"/>
                    <a:pt x="6" y="1"/>
                  </a:cubicBezTo>
                  <a:cubicBezTo>
                    <a:pt x="5" y="1"/>
                    <a:pt x="4" y="0"/>
                    <a:pt x="3" y="0"/>
                  </a:cubicBezTo>
                </a:path>
              </a:pathLst>
            </a:custGeom>
            <a:solidFill>
              <a:srgbClr val="5F8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5" name="任意多边形 374">
              <a:extLst>
                <a:ext uri="{FF2B5EF4-FFF2-40B4-BE49-F238E27FC236}">
                  <a16:creationId xmlns:a16="http://schemas.microsoft.com/office/drawing/2014/main" id="{F100FB92-511A-46F9-AE59-6D899E3A91D1}"/>
                </a:ext>
              </a:extLst>
            </p:cNvPr>
            <p:cNvSpPr/>
            <p:nvPr/>
          </p:nvSpPr>
          <p:spPr bwMode="auto">
            <a:xfrm>
              <a:off x="4495801" y="4051300"/>
              <a:ext cx="4763" cy="4762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2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2 w 2"/>
                <a:gd name="T11" fmla="*/ 1 h 2"/>
                <a:gd name="T12" fmla="*/ 1 w 2"/>
                <a:gd name="T13" fmla="*/ 0 h 2"/>
                <a:gd name="T14" fmla="*/ 0 w 2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1" y="1"/>
                    <a:pt x="1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0F1F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6" name="任意多边形 375">
              <a:extLst>
                <a:ext uri="{FF2B5EF4-FFF2-40B4-BE49-F238E27FC236}">
                  <a16:creationId xmlns:a16="http://schemas.microsoft.com/office/drawing/2014/main" id="{6792AD8D-F295-4F82-9D82-847708691B28}"/>
                </a:ext>
              </a:extLst>
            </p:cNvPr>
            <p:cNvSpPr/>
            <p:nvPr/>
          </p:nvSpPr>
          <p:spPr bwMode="auto">
            <a:xfrm>
              <a:off x="4495801" y="4051300"/>
              <a:ext cx="157163" cy="88900"/>
            </a:xfrm>
            <a:custGeom>
              <a:avLst/>
              <a:gdLst>
                <a:gd name="T0" fmla="*/ 0 w 60"/>
                <a:gd name="T1" fmla="*/ 0 h 34"/>
                <a:gd name="T2" fmla="*/ 0 w 60"/>
                <a:gd name="T3" fmla="*/ 0 h 34"/>
                <a:gd name="T4" fmla="*/ 0 w 60"/>
                <a:gd name="T5" fmla="*/ 0 h 34"/>
                <a:gd name="T6" fmla="*/ 1 w 60"/>
                <a:gd name="T7" fmla="*/ 2 h 34"/>
                <a:gd name="T8" fmla="*/ 1 w 60"/>
                <a:gd name="T9" fmla="*/ 2 h 34"/>
                <a:gd name="T10" fmla="*/ 1 w 60"/>
                <a:gd name="T11" fmla="*/ 2 h 34"/>
                <a:gd name="T12" fmla="*/ 1 w 60"/>
                <a:gd name="T13" fmla="*/ 2 h 34"/>
                <a:gd name="T14" fmla="*/ 2 w 60"/>
                <a:gd name="T15" fmla="*/ 2 h 34"/>
                <a:gd name="T16" fmla="*/ 2 w 60"/>
                <a:gd name="T17" fmla="*/ 2 h 34"/>
                <a:gd name="T18" fmla="*/ 0 w 60"/>
                <a:gd name="T19" fmla="*/ 0 h 34"/>
                <a:gd name="T20" fmla="*/ 0 w 60"/>
                <a:gd name="T21" fmla="*/ 0 h 34"/>
                <a:gd name="T22" fmla="*/ 1 w 60"/>
                <a:gd name="T23" fmla="*/ 0 h 34"/>
                <a:gd name="T24" fmla="*/ 2 w 60"/>
                <a:gd name="T25" fmla="*/ 1 h 34"/>
                <a:gd name="T26" fmla="*/ 5 w 60"/>
                <a:gd name="T27" fmla="*/ 2 h 34"/>
                <a:gd name="T28" fmla="*/ 18 w 60"/>
                <a:gd name="T29" fmla="*/ 10 h 34"/>
                <a:gd name="T30" fmla="*/ 23 w 60"/>
                <a:gd name="T31" fmla="*/ 13 h 34"/>
                <a:gd name="T32" fmla="*/ 23 w 60"/>
                <a:gd name="T33" fmla="*/ 13 h 34"/>
                <a:gd name="T34" fmla="*/ 23 w 60"/>
                <a:gd name="T35" fmla="*/ 13 h 34"/>
                <a:gd name="T36" fmla="*/ 51 w 60"/>
                <a:gd name="T37" fmla="*/ 29 h 34"/>
                <a:gd name="T38" fmla="*/ 60 w 60"/>
                <a:gd name="T39" fmla="*/ 34 h 34"/>
                <a:gd name="T40" fmla="*/ 60 w 60"/>
                <a:gd name="T41" fmla="*/ 34 h 34"/>
                <a:gd name="T42" fmla="*/ 60 w 60"/>
                <a:gd name="T43" fmla="*/ 34 h 34"/>
                <a:gd name="T44" fmla="*/ 59 w 60"/>
                <a:gd name="T45" fmla="*/ 34 h 34"/>
                <a:gd name="T46" fmla="*/ 59 w 60"/>
                <a:gd name="T47" fmla="*/ 34 h 34"/>
                <a:gd name="T48" fmla="*/ 39 w 60"/>
                <a:gd name="T49" fmla="*/ 22 h 34"/>
                <a:gd name="T50" fmla="*/ 32 w 60"/>
                <a:gd name="T51" fmla="*/ 18 h 34"/>
                <a:gd name="T52" fmla="*/ 3 w 60"/>
                <a:gd name="T53" fmla="*/ 1 h 34"/>
                <a:gd name="T54" fmla="*/ 0 w 60"/>
                <a:gd name="T55" fmla="*/ 0 h 34"/>
                <a:gd name="T56" fmla="*/ 0 w 60"/>
                <a:gd name="T5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" h="3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3" y="1"/>
                    <a:pt x="4" y="2"/>
                    <a:pt x="5" y="2"/>
                  </a:cubicBezTo>
                  <a:cubicBezTo>
                    <a:pt x="8" y="4"/>
                    <a:pt x="12" y="7"/>
                    <a:pt x="18" y="10"/>
                  </a:cubicBezTo>
                  <a:cubicBezTo>
                    <a:pt x="19" y="11"/>
                    <a:pt x="21" y="12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31" y="18"/>
                    <a:pt x="41" y="23"/>
                    <a:pt x="51" y="29"/>
                  </a:cubicBezTo>
                  <a:cubicBezTo>
                    <a:pt x="54" y="31"/>
                    <a:pt x="57" y="33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3" y="30"/>
                    <a:pt x="45" y="26"/>
                    <a:pt x="39" y="22"/>
                  </a:cubicBezTo>
                  <a:cubicBezTo>
                    <a:pt x="37" y="21"/>
                    <a:pt x="35" y="19"/>
                    <a:pt x="32" y="18"/>
                  </a:cubicBezTo>
                  <a:cubicBezTo>
                    <a:pt x="22" y="12"/>
                    <a:pt x="12" y="7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62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7" name="任意多边形 376">
              <a:extLst>
                <a:ext uri="{FF2B5EF4-FFF2-40B4-BE49-F238E27FC236}">
                  <a16:creationId xmlns:a16="http://schemas.microsoft.com/office/drawing/2014/main" id="{B95A14A2-80ED-433F-BF3A-DA4A3449725D}"/>
                </a:ext>
              </a:extLst>
            </p:cNvPr>
            <p:cNvSpPr/>
            <p:nvPr/>
          </p:nvSpPr>
          <p:spPr bwMode="auto">
            <a:xfrm>
              <a:off x="4579938" y="4060825"/>
              <a:ext cx="15875" cy="7937"/>
            </a:xfrm>
            <a:custGeom>
              <a:avLst/>
              <a:gdLst>
                <a:gd name="T0" fmla="*/ 2 w 6"/>
                <a:gd name="T1" fmla="*/ 3 h 3"/>
                <a:gd name="T2" fmla="*/ 0 w 6"/>
                <a:gd name="T3" fmla="*/ 3 h 3"/>
                <a:gd name="T4" fmla="*/ 0 w 6"/>
                <a:gd name="T5" fmla="*/ 3 h 3"/>
                <a:gd name="T6" fmla="*/ 2 w 6"/>
                <a:gd name="T7" fmla="*/ 3 h 3"/>
                <a:gd name="T8" fmla="*/ 5 w 6"/>
                <a:gd name="T9" fmla="*/ 1 h 3"/>
                <a:gd name="T10" fmla="*/ 5 w 6"/>
                <a:gd name="T11" fmla="*/ 1 h 3"/>
                <a:gd name="T12" fmla="*/ 5 w 6"/>
                <a:gd name="T13" fmla="*/ 1 h 3"/>
                <a:gd name="T14" fmla="*/ 5 w 6"/>
                <a:gd name="T15" fmla="*/ 1 h 3"/>
                <a:gd name="T16" fmla="*/ 6 w 6"/>
                <a:gd name="T17" fmla="*/ 1 h 3"/>
                <a:gd name="T18" fmla="*/ 6 w 6"/>
                <a:gd name="T19" fmla="*/ 1 h 3"/>
                <a:gd name="T20" fmla="*/ 5 w 6"/>
                <a:gd name="T21" fmla="*/ 1 h 3"/>
                <a:gd name="T22" fmla="*/ 3 w 6"/>
                <a:gd name="T23" fmla="*/ 0 h 3"/>
                <a:gd name="T24" fmla="*/ 3 w 6"/>
                <a:gd name="T25" fmla="*/ 0 h 3"/>
                <a:gd name="T26" fmla="*/ 3 w 6"/>
                <a:gd name="T27" fmla="*/ 0 h 3"/>
                <a:gd name="T28" fmla="*/ 3 w 6"/>
                <a:gd name="T2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2" y="3"/>
                  </a:cubicBezTo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moveTo>
                    <a:pt x="5" y="1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B6B1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8" name="任意多边形 377">
              <a:extLst>
                <a:ext uri="{FF2B5EF4-FFF2-40B4-BE49-F238E27FC236}">
                  <a16:creationId xmlns:a16="http://schemas.microsoft.com/office/drawing/2014/main" id="{B5C020D4-EBB4-484B-BE29-3B76C9C86C0F}"/>
                </a:ext>
              </a:extLst>
            </p:cNvPr>
            <p:cNvSpPr/>
            <p:nvPr/>
          </p:nvSpPr>
          <p:spPr bwMode="auto">
            <a:xfrm>
              <a:off x="4579938" y="4068763"/>
              <a:ext cx="9525" cy="0"/>
            </a:xfrm>
            <a:custGeom>
              <a:avLst/>
              <a:gdLst>
                <a:gd name="T0" fmla="*/ 2 w 4"/>
                <a:gd name="T1" fmla="*/ 2 w 4"/>
                <a:gd name="T2" fmla="*/ 0 w 4"/>
                <a:gd name="T3" fmla="*/ 0 w 4"/>
                <a:gd name="T4" fmla="*/ 1 w 4"/>
                <a:gd name="T5" fmla="*/ 3 w 4"/>
                <a:gd name="T6" fmla="*/ 4 w 4"/>
                <a:gd name="T7" fmla="*/ 2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4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</a:path>
              </a:pathLst>
            </a:custGeom>
            <a:solidFill>
              <a:srgbClr val="6B9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9" name="任意多边形 378">
              <a:extLst>
                <a:ext uri="{FF2B5EF4-FFF2-40B4-BE49-F238E27FC236}">
                  <a16:creationId xmlns:a16="http://schemas.microsoft.com/office/drawing/2014/main" id="{DF682713-2BFE-49F7-A1DC-42DC900F26AE}"/>
                </a:ext>
              </a:extLst>
            </p:cNvPr>
            <p:cNvSpPr/>
            <p:nvPr/>
          </p:nvSpPr>
          <p:spPr bwMode="auto">
            <a:xfrm>
              <a:off x="4587876" y="4060825"/>
              <a:ext cx="7938" cy="3175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0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w 3"/>
                <a:gd name="T11" fmla="*/ 0 h 1"/>
                <a:gd name="T12" fmla="*/ 2 w 3"/>
                <a:gd name="T13" fmla="*/ 1 h 1"/>
                <a:gd name="T14" fmla="*/ 2 w 3"/>
                <a:gd name="T15" fmla="*/ 1 h 1"/>
                <a:gd name="T16" fmla="*/ 3 w 3"/>
                <a:gd name="T17" fmla="*/ 1 h 1"/>
                <a:gd name="T18" fmla="*/ 3 w 3"/>
                <a:gd name="T19" fmla="*/ 1 h 1"/>
                <a:gd name="T20" fmla="*/ 2 w 3"/>
                <a:gd name="T21" fmla="*/ 1 h 1"/>
                <a:gd name="T22" fmla="*/ 0 w 3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90AF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0" name="任意多边形 379">
              <a:extLst>
                <a:ext uri="{FF2B5EF4-FFF2-40B4-BE49-F238E27FC236}">
                  <a16:creationId xmlns:a16="http://schemas.microsoft.com/office/drawing/2014/main" id="{CCE87D52-3D26-4B36-806D-9C3D7F782D31}"/>
                </a:ext>
              </a:extLst>
            </p:cNvPr>
            <p:cNvSpPr/>
            <p:nvPr/>
          </p:nvSpPr>
          <p:spPr bwMode="auto">
            <a:xfrm>
              <a:off x="4572001" y="4060825"/>
              <a:ext cx="28575" cy="14287"/>
            </a:xfrm>
            <a:custGeom>
              <a:avLst/>
              <a:gdLst>
                <a:gd name="T0" fmla="*/ 6 w 11"/>
                <a:gd name="T1" fmla="*/ 0 h 5"/>
                <a:gd name="T2" fmla="*/ 6 w 11"/>
                <a:gd name="T3" fmla="*/ 0 h 5"/>
                <a:gd name="T4" fmla="*/ 0 w 11"/>
                <a:gd name="T5" fmla="*/ 3 h 5"/>
                <a:gd name="T6" fmla="*/ 3 w 11"/>
                <a:gd name="T7" fmla="*/ 3 h 5"/>
                <a:gd name="T8" fmla="*/ 5 w 11"/>
                <a:gd name="T9" fmla="*/ 3 h 5"/>
                <a:gd name="T10" fmla="*/ 5 w 11"/>
                <a:gd name="T11" fmla="*/ 3 h 5"/>
                <a:gd name="T12" fmla="*/ 7 w 11"/>
                <a:gd name="T13" fmla="*/ 3 h 5"/>
                <a:gd name="T14" fmla="*/ 9 w 11"/>
                <a:gd name="T15" fmla="*/ 4 h 5"/>
                <a:gd name="T16" fmla="*/ 11 w 11"/>
                <a:gd name="T17" fmla="*/ 5 h 5"/>
                <a:gd name="T18" fmla="*/ 9 w 11"/>
                <a:gd name="T19" fmla="*/ 1 h 5"/>
                <a:gd name="T20" fmla="*/ 9 w 11"/>
                <a:gd name="T21" fmla="*/ 1 h 5"/>
                <a:gd name="T22" fmla="*/ 9 w 11"/>
                <a:gd name="T23" fmla="*/ 1 h 5"/>
                <a:gd name="T24" fmla="*/ 8 w 11"/>
                <a:gd name="T25" fmla="*/ 1 h 5"/>
                <a:gd name="T26" fmla="*/ 8 w 11"/>
                <a:gd name="T27" fmla="*/ 1 h 5"/>
                <a:gd name="T28" fmla="*/ 6 w 11"/>
                <a:gd name="T29" fmla="*/ 0 h 5"/>
                <a:gd name="T30" fmla="*/ 6 w 11"/>
                <a:gd name="T31" fmla="*/ 0 h 5"/>
                <a:gd name="T32" fmla="*/ 6 w 11"/>
                <a:gd name="T3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5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1"/>
                    <a:pt x="0" y="3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3" y="3"/>
                    <a:pt x="4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7" y="3"/>
                  </a:cubicBezTo>
                  <a:cubicBezTo>
                    <a:pt x="8" y="3"/>
                    <a:pt x="8" y="4"/>
                    <a:pt x="9" y="4"/>
                  </a:cubicBezTo>
                  <a:cubicBezTo>
                    <a:pt x="10" y="4"/>
                    <a:pt x="10" y="4"/>
                    <a:pt x="11" y="5"/>
                  </a:cubicBezTo>
                  <a:cubicBezTo>
                    <a:pt x="11" y="3"/>
                    <a:pt x="10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577C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1" name="任意多边形 380">
              <a:extLst>
                <a:ext uri="{FF2B5EF4-FFF2-40B4-BE49-F238E27FC236}">
                  <a16:creationId xmlns:a16="http://schemas.microsoft.com/office/drawing/2014/main" id="{FDD86853-4D6C-449E-BB7B-4503B0E9C4FC}"/>
                </a:ext>
              </a:extLst>
            </p:cNvPr>
            <p:cNvSpPr/>
            <p:nvPr/>
          </p:nvSpPr>
          <p:spPr bwMode="auto">
            <a:xfrm>
              <a:off x="4491038" y="4030663"/>
              <a:ext cx="171450" cy="109537"/>
            </a:xfrm>
            <a:custGeom>
              <a:avLst/>
              <a:gdLst>
                <a:gd name="T0" fmla="*/ 2 w 66"/>
                <a:gd name="T1" fmla="*/ 8 h 42"/>
                <a:gd name="T2" fmla="*/ 7 w 66"/>
                <a:gd name="T3" fmla="*/ 1 h 42"/>
                <a:gd name="T4" fmla="*/ 7 w 66"/>
                <a:gd name="T5" fmla="*/ 1 h 42"/>
                <a:gd name="T6" fmla="*/ 7 w 66"/>
                <a:gd name="T7" fmla="*/ 1 h 42"/>
                <a:gd name="T8" fmla="*/ 7 w 66"/>
                <a:gd name="T9" fmla="*/ 1 h 42"/>
                <a:gd name="T10" fmla="*/ 66 w 66"/>
                <a:gd name="T11" fmla="*/ 35 h 42"/>
                <a:gd name="T12" fmla="*/ 61 w 66"/>
                <a:gd name="T13" fmla="*/ 42 h 42"/>
                <a:gd name="T14" fmla="*/ 2 w 66"/>
                <a:gd name="T15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42">
                  <a:moveTo>
                    <a:pt x="2" y="8"/>
                  </a:moveTo>
                  <a:cubicBezTo>
                    <a:pt x="4" y="6"/>
                    <a:pt x="5" y="3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5" y="0"/>
                    <a:pt x="66" y="35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0" y="6"/>
                    <a:pt x="2" y="8"/>
                    <a:pt x="2" y="8"/>
                  </a:cubicBezTo>
                  <a:close/>
                </a:path>
              </a:pathLst>
            </a:custGeom>
            <a:solidFill>
              <a:srgbClr val="71A7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2" name="任意多边形 381">
              <a:extLst>
                <a:ext uri="{FF2B5EF4-FFF2-40B4-BE49-F238E27FC236}">
                  <a16:creationId xmlns:a16="http://schemas.microsoft.com/office/drawing/2014/main" id="{6FBC99C8-88C0-4D85-B099-360CE901E0C2}"/>
                </a:ext>
              </a:extLst>
            </p:cNvPr>
            <p:cNvSpPr/>
            <p:nvPr/>
          </p:nvSpPr>
          <p:spPr bwMode="auto">
            <a:xfrm>
              <a:off x="7466013" y="1808163"/>
              <a:ext cx="385763" cy="738187"/>
            </a:xfrm>
            <a:custGeom>
              <a:avLst/>
              <a:gdLst>
                <a:gd name="T0" fmla="*/ 133 w 148"/>
                <a:gd name="T1" fmla="*/ 63 h 283"/>
                <a:gd name="T2" fmla="*/ 28 w 148"/>
                <a:gd name="T3" fmla="*/ 3 h 283"/>
                <a:gd name="T4" fmla="*/ 17 w 148"/>
                <a:gd name="T5" fmla="*/ 1 h 283"/>
                <a:gd name="T6" fmla="*/ 17 w 148"/>
                <a:gd name="T7" fmla="*/ 1 h 283"/>
                <a:gd name="T8" fmla="*/ 17 w 148"/>
                <a:gd name="T9" fmla="*/ 1 h 283"/>
                <a:gd name="T10" fmla="*/ 15 w 148"/>
                <a:gd name="T11" fmla="*/ 2 h 283"/>
                <a:gd name="T12" fmla="*/ 0 w 148"/>
                <a:gd name="T13" fmla="*/ 11 h 283"/>
                <a:gd name="T14" fmla="*/ 12 w 148"/>
                <a:gd name="T15" fmla="*/ 38 h 283"/>
                <a:gd name="T16" fmla="*/ 12 w 148"/>
                <a:gd name="T17" fmla="*/ 186 h 283"/>
                <a:gd name="T18" fmla="*/ 28 w 148"/>
                <a:gd name="T19" fmla="*/ 210 h 283"/>
                <a:gd name="T20" fmla="*/ 117 w 148"/>
                <a:gd name="T21" fmla="*/ 262 h 283"/>
                <a:gd name="T22" fmla="*/ 126 w 148"/>
                <a:gd name="T23" fmla="*/ 283 h 283"/>
                <a:gd name="T24" fmla="*/ 140 w 148"/>
                <a:gd name="T25" fmla="*/ 274 h 283"/>
                <a:gd name="T26" fmla="*/ 141 w 148"/>
                <a:gd name="T27" fmla="*/ 273 h 283"/>
                <a:gd name="T28" fmla="*/ 148 w 148"/>
                <a:gd name="T29" fmla="*/ 265 h 283"/>
                <a:gd name="T30" fmla="*/ 148 w 148"/>
                <a:gd name="T31" fmla="*/ 87 h 283"/>
                <a:gd name="T32" fmla="*/ 133 w 148"/>
                <a:gd name="T33" fmla="*/ 6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8" h="283">
                  <a:moveTo>
                    <a:pt x="133" y="6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4" y="0"/>
                    <a:pt x="20" y="0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5" y="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186"/>
                    <a:pt x="12" y="186"/>
                    <a:pt x="12" y="186"/>
                  </a:cubicBezTo>
                  <a:cubicBezTo>
                    <a:pt x="12" y="195"/>
                    <a:pt x="19" y="205"/>
                    <a:pt x="28" y="210"/>
                  </a:cubicBezTo>
                  <a:cubicBezTo>
                    <a:pt x="117" y="262"/>
                    <a:pt x="117" y="262"/>
                    <a:pt x="117" y="262"/>
                  </a:cubicBezTo>
                  <a:cubicBezTo>
                    <a:pt x="126" y="283"/>
                    <a:pt x="126" y="283"/>
                    <a:pt x="126" y="283"/>
                  </a:cubicBezTo>
                  <a:cubicBezTo>
                    <a:pt x="140" y="274"/>
                    <a:pt x="140" y="274"/>
                    <a:pt x="140" y="274"/>
                  </a:cubicBezTo>
                  <a:cubicBezTo>
                    <a:pt x="141" y="273"/>
                    <a:pt x="141" y="273"/>
                    <a:pt x="141" y="273"/>
                  </a:cubicBezTo>
                  <a:cubicBezTo>
                    <a:pt x="145" y="271"/>
                    <a:pt x="148" y="269"/>
                    <a:pt x="148" y="265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48" y="79"/>
                    <a:pt x="141" y="68"/>
                    <a:pt x="133" y="63"/>
                  </a:cubicBez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3" name="任意多边形 382">
              <a:extLst>
                <a:ext uri="{FF2B5EF4-FFF2-40B4-BE49-F238E27FC236}">
                  <a16:creationId xmlns:a16="http://schemas.microsoft.com/office/drawing/2014/main" id="{B3286AC7-5FDD-4F5A-8CA1-E87232884FBE}"/>
                </a:ext>
              </a:extLst>
            </p:cNvPr>
            <p:cNvSpPr/>
            <p:nvPr/>
          </p:nvSpPr>
          <p:spPr bwMode="auto">
            <a:xfrm>
              <a:off x="7453313" y="1828800"/>
              <a:ext cx="352425" cy="725487"/>
            </a:xfrm>
            <a:custGeom>
              <a:avLst/>
              <a:gdLst>
                <a:gd name="T0" fmla="*/ 120 w 135"/>
                <a:gd name="T1" fmla="*/ 273 h 278"/>
                <a:gd name="T2" fmla="*/ 15 w 135"/>
                <a:gd name="T3" fmla="*/ 212 h 278"/>
                <a:gd name="T4" fmla="*/ 0 w 135"/>
                <a:gd name="T5" fmla="*/ 188 h 278"/>
                <a:gd name="T6" fmla="*/ 0 w 135"/>
                <a:gd name="T7" fmla="*/ 11 h 278"/>
                <a:gd name="T8" fmla="*/ 15 w 135"/>
                <a:gd name="T9" fmla="*/ 5 h 278"/>
                <a:gd name="T10" fmla="*/ 120 w 135"/>
                <a:gd name="T11" fmla="*/ 65 h 278"/>
                <a:gd name="T12" fmla="*/ 135 w 135"/>
                <a:gd name="T13" fmla="*/ 90 h 278"/>
                <a:gd name="T14" fmla="*/ 135 w 135"/>
                <a:gd name="T15" fmla="*/ 267 h 278"/>
                <a:gd name="T16" fmla="*/ 120 w 135"/>
                <a:gd name="T17" fmla="*/ 273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5" h="278">
                  <a:moveTo>
                    <a:pt x="120" y="273"/>
                  </a:moveTo>
                  <a:cubicBezTo>
                    <a:pt x="15" y="212"/>
                    <a:pt x="15" y="212"/>
                    <a:pt x="15" y="212"/>
                  </a:cubicBezTo>
                  <a:cubicBezTo>
                    <a:pt x="6" y="208"/>
                    <a:pt x="0" y="197"/>
                    <a:pt x="0" y="18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"/>
                    <a:pt x="6" y="0"/>
                    <a:pt x="15" y="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8" y="70"/>
                    <a:pt x="135" y="81"/>
                    <a:pt x="135" y="90"/>
                  </a:cubicBezTo>
                  <a:cubicBezTo>
                    <a:pt x="135" y="267"/>
                    <a:pt x="135" y="267"/>
                    <a:pt x="135" y="267"/>
                  </a:cubicBezTo>
                  <a:cubicBezTo>
                    <a:pt x="135" y="275"/>
                    <a:pt x="128" y="278"/>
                    <a:pt x="120" y="273"/>
                  </a:cubicBezTo>
                  <a:close/>
                </a:path>
              </a:pathLst>
            </a:custGeom>
            <a:solidFill>
              <a:srgbClr val="BECB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4" name="任意多边形 383">
              <a:extLst>
                <a:ext uri="{FF2B5EF4-FFF2-40B4-BE49-F238E27FC236}">
                  <a16:creationId xmlns:a16="http://schemas.microsoft.com/office/drawing/2014/main" id="{37D4F2A9-08B2-4DB3-8AF9-7136AEBBD426}"/>
                </a:ext>
              </a:extLst>
            </p:cNvPr>
            <p:cNvSpPr/>
            <p:nvPr/>
          </p:nvSpPr>
          <p:spPr bwMode="auto">
            <a:xfrm>
              <a:off x="7493001" y="1897063"/>
              <a:ext cx="273050" cy="271462"/>
            </a:xfrm>
            <a:custGeom>
              <a:avLst/>
              <a:gdLst>
                <a:gd name="T0" fmla="*/ 97 w 105"/>
                <a:gd name="T1" fmla="*/ 102 h 104"/>
                <a:gd name="T2" fmla="*/ 8 w 105"/>
                <a:gd name="T3" fmla="*/ 50 h 104"/>
                <a:gd name="T4" fmla="*/ 0 w 105"/>
                <a:gd name="T5" fmla="*/ 38 h 104"/>
                <a:gd name="T6" fmla="*/ 0 w 105"/>
                <a:gd name="T7" fmla="*/ 6 h 104"/>
                <a:gd name="T8" fmla="*/ 8 w 105"/>
                <a:gd name="T9" fmla="*/ 3 h 104"/>
                <a:gd name="T10" fmla="*/ 97 w 105"/>
                <a:gd name="T11" fmla="*/ 54 h 104"/>
                <a:gd name="T12" fmla="*/ 105 w 105"/>
                <a:gd name="T13" fmla="*/ 67 h 104"/>
                <a:gd name="T14" fmla="*/ 105 w 105"/>
                <a:gd name="T15" fmla="*/ 98 h 104"/>
                <a:gd name="T16" fmla="*/ 97 w 105"/>
                <a:gd name="T17" fmla="*/ 10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04">
                  <a:moveTo>
                    <a:pt x="97" y="102"/>
                  </a:moveTo>
                  <a:cubicBezTo>
                    <a:pt x="8" y="50"/>
                    <a:pt x="8" y="50"/>
                    <a:pt x="8" y="50"/>
                  </a:cubicBezTo>
                  <a:cubicBezTo>
                    <a:pt x="3" y="48"/>
                    <a:pt x="0" y="42"/>
                    <a:pt x="0" y="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8" y="3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101" y="57"/>
                    <a:pt x="105" y="62"/>
                    <a:pt x="105" y="67"/>
                  </a:cubicBezTo>
                  <a:cubicBezTo>
                    <a:pt x="105" y="98"/>
                    <a:pt x="105" y="98"/>
                    <a:pt x="105" y="98"/>
                  </a:cubicBezTo>
                  <a:cubicBezTo>
                    <a:pt x="105" y="103"/>
                    <a:pt x="101" y="104"/>
                    <a:pt x="97" y="102"/>
                  </a:cubicBez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5" name="任意多边形 384">
              <a:extLst>
                <a:ext uri="{FF2B5EF4-FFF2-40B4-BE49-F238E27FC236}">
                  <a16:creationId xmlns:a16="http://schemas.microsoft.com/office/drawing/2014/main" id="{D5EF8729-0F0D-4110-90DD-C54FEDBF428E}"/>
                </a:ext>
              </a:extLst>
            </p:cNvPr>
            <p:cNvSpPr/>
            <p:nvPr/>
          </p:nvSpPr>
          <p:spPr bwMode="auto">
            <a:xfrm>
              <a:off x="7493001" y="2063750"/>
              <a:ext cx="74613" cy="93662"/>
            </a:xfrm>
            <a:custGeom>
              <a:avLst/>
              <a:gdLst>
                <a:gd name="T0" fmla="*/ 47 w 47"/>
                <a:gd name="T1" fmla="*/ 59 h 59"/>
                <a:gd name="T2" fmla="*/ 0 w 47"/>
                <a:gd name="T3" fmla="*/ 31 h 59"/>
                <a:gd name="T4" fmla="*/ 0 w 47"/>
                <a:gd name="T5" fmla="*/ 0 h 59"/>
                <a:gd name="T6" fmla="*/ 47 w 47"/>
                <a:gd name="T7" fmla="*/ 28 h 59"/>
                <a:gd name="T8" fmla="*/ 47 w 47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59">
                  <a:moveTo>
                    <a:pt x="47" y="59"/>
                  </a:moveTo>
                  <a:lnTo>
                    <a:pt x="0" y="31"/>
                  </a:lnTo>
                  <a:lnTo>
                    <a:pt x="0" y="0"/>
                  </a:lnTo>
                  <a:lnTo>
                    <a:pt x="47" y="28"/>
                  </a:lnTo>
                  <a:lnTo>
                    <a:pt x="47" y="59"/>
                  </a:lnTo>
                  <a:close/>
                </a:path>
              </a:pathLst>
            </a:custGeom>
            <a:solidFill>
              <a:srgbClr val="B54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6" name="任意多边形 385">
              <a:extLst>
                <a:ext uri="{FF2B5EF4-FFF2-40B4-BE49-F238E27FC236}">
                  <a16:creationId xmlns:a16="http://schemas.microsoft.com/office/drawing/2014/main" id="{56038CF0-5E50-4DB1-8D9B-E727796FC3A7}"/>
                </a:ext>
              </a:extLst>
            </p:cNvPr>
            <p:cNvSpPr/>
            <p:nvPr/>
          </p:nvSpPr>
          <p:spPr bwMode="auto">
            <a:xfrm>
              <a:off x="7591426" y="2120900"/>
              <a:ext cx="76200" cy="92075"/>
            </a:xfrm>
            <a:custGeom>
              <a:avLst/>
              <a:gdLst>
                <a:gd name="T0" fmla="*/ 48 w 48"/>
                <a:gd name="T1" fmla="*/ 58 h 58"/>
                <a:gd name="T2" fmla="*/ 0 w 48"/>
                <a:gd name="T3" fmla="*/ 30 h 58"/>
                <a:gd name="T4" fmla="*/ 0 w 48"/>
                <a:gd name="T5" fmla="*/ 0 h 58"/>
                <a:gd name="T6" fmla="*/ 48 w 48"/>
                <a:gd name="T7" fmla="*/ 28 h 58"/>
                <a:gd name="T8" fmla="*/ 48 w 48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8">
                  <a:moveTo>
                    <a:pt x="48" y="58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48" y="28"/>
                  </a:lnTo>
                  <a:lnTo>
                    <a:pt x="48" y="58"/>
                  </a:lnTo>
                  <a:close/>
                </a:path>
              </a:pathLst>
            </a:custGeom>
            <a:solidFill>
              <a:srgbClr val="B54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7" name="任意多边形 386">
              <a:extLst>
                <a:ext uri="{FF2B5EF4-FFF2-40B4-BE49-F238E27FC236}">
                  <a16:creationId xmlns:a16="http://schemas.microsoft.com/office/drawing/2014/main" id="{4939EDC3-CAC5-42D3-A8D6-AB882B9A49C0}"/>
                </a:ext>
              </a:extLst>
            </p:cNvPr>
            <p:cNvSpPr/>
            <p:nvPr/>
          </p:nvSpPr>
          <p:spPr bwMode="auto">
            <a:xfrm>
              <a:off x="7688263" y="2178050"/>
              <a:ext cx="77788" cy="92075"/>
            </a:xfrm>
            <a:custGeom>
              <a:avLst/>
              <a:gdLst>
                <a:gd name="T0" fmla="*/ 49 w 49"/>
                <a:gd name="T1" fmla="*/ 58 h 58"/>
                <a:gd name="T2" fmla="*/ 0 w 49"/>
                <a:gd name="T3" fmla="*/ 30 h 58"/>
                <a:gd name="T4" fmla="*/ 0 w 49"/>
                <a:gd name="T5" fmla="*/ 0 h 58"/>
                <a:gd name="T6" fmla="*/ 49 w 49"/>
                <a:gd name="T7" fmla="*/ 28 h 58"/>
                <a:gd name="T8" fmla="*/ 49 w 49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8">
                  <a:moveTo>
                    <a:pt x="49" y="58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49" y="28"/>
                  </a:lnTo>
                  <a:lnTo>
                    <a:pt x="49" y="58"/>
                  </a:lnTo>
                  <a:close/>
                </a:path>
              </a:pathLst>
            </a:custGeom>
            <a:solidFill>
              <a:srgbClr val="B546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8" name="任意多边形 387">
              <a:extLst>
                <a:ext uri="{FF2B5EF4-FFF2-40B4-BE49-F238E27FC236}">
                  <a16:creationId xmlns:a16="http://schemas.microsoft.com/office/drawing/2014/main" id="{5A3AD9E1-DB82-43ED-98E1-955223619D53}"/>
                </a:ext>
              </a:extLst>
            </p:cNvPr>
            <p:cNvSpPr/>
            <p:nvPr/>
          </p:nvSpPr>
          <p:spPr bwMode="auto">
            <a:xfrm>
              <a:off x="7493001" y="2132013"/>
              <a:ext cx="74613" cy="90487"/>
            </a:xfrm>
            <a:custGeom>
              <a:avLst/>
              <a:gdLst>
                <a:gd name="T0" fmla="*/ 47 w 47"/>
                <a:gd name="T1" fmla="*/ 57 h 57"/>
                <a:gd name="T2" fmla="*/ 0 w 47"/>
                <a:gd name="T3" fmla="*/ 29 h 57"/>
                <a:gd name="T4" fmla="*/ 0 w 47"/>
                <a:gd name="T5" fmla="*/ 0 h 57"/>
                <a:gd name="T6" fmla="*/ 47 w 47"/>
                <a:gd name="T7" fmla="*/ 28 h 57"/>
                <a:gd name="T8" fmla="*/ 47 w 4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57">
                  <a:moveTo>
                    <a:pt x="47" y="57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47" y="28"/>
                  </a:lnTo>
                  <a:lnTo>
                    <a:pt x="47" y="57"/>
                  </a:ln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9" name="任意多边形 388">
              <a:extLst>
                <a:ext uri="{FF2B5EF4-FFF2-40B4-BE49-F238E27FC236}">
                  <a16:creationId xmlns:a16="http://schemas.microsoft.com/office/drawing/2014/main" id="{954DFC84-53B0-474F-8E75-28B05DD9296A}"/>
                </a:ext>
              </a:extLst>
            </p:cNvPr>
            <p:cNvSpPr/>
            <p:nvPr/>
          </p:nvSpPr>
          <p:spPr bwMode="auto">
            <a:xfrm>
              <a:off x="7591426" y="2189163"/>
              <a:ext cx="76200" cy="90487"/>
            </a:xfrm>
            <a:custGeom>
              <a:avLst/>
              <a:gdLst>
                <a:gd name="T0" fmla="*/ 48 w 48"/>
                <a:gd name="T1" fmla="*/ 57 h 57"/>
                <a:gd name="T2" fmla="*/ 0 w 48"/>
                <a:gd name="T3" fmla="*/ 29 h 57"/>
                <a:gd name="T4" fmla="*/ 0 w 48"/>
                <a:gd name="T5" fmla="*/ 0 h 57"/>
                <a:gd name="T6" fmla="*/ 48 w 48"/>
                <a:gd name="T7" fmla="*/ 28 h 57"/>
                <a:gd name="T8" fmla="*/ 48 w 48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7">
                  <a:moveTo>
                    <a:pt x="48" y="57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48" y="28"/>
                  </a:lnTo>
                  <a:lnTo>
                    <a:pt x="48" y="57"/>
                  </a:ln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0" name="任意多边形 389">
              <a:extLst>
                <a:ext uri="{FF2B5EF4-FFF2-40B4-BE49-F238E27FC236}">
                  <a16:creationId xmlns:a16="http://schemas.microsoft.com/office/drawing/2014/main" id="{746DA862-1359-4C2C-9584-B30229420E6B}"/>
                </a:ext>
              </a:extLst>
            </p:cNvPr>
            <p:cNvSpPr/>
            <p:nvPr/>
          </p:nvSpPr>
          <p:spPr bwMode="auto">
            <a:xfrm>
              <a:off x="7688263" y="2246313"/>
              <a:ext cx="77788" cy="90487"/>
            </a:xfrm>
            <a:custGeom>
              <a:avLst/>
              <a:gdLst>
                <a:gd name="T0" fmla="*/ 49 w 49"/>
                <a:gd name="T1" fmla="*/ 57 h 57"/>
                <a:gd name="T2" fmla="*/ 0 w 49"/>
                <a:gd name="T3" fmla="*/ 30 h 57"/>
                <a:gd name="T4" fmla="*/ 0 w 49"/>
                <a:gd name="T5" fmla="*/ 0 h 57"/>
                <a:gd name="T6" fmla="*/ 49 w 49"/>
                <a:gd name="T7" fmla="*/ 28 h 57"/>
                <a:gd name="T8" fmla="*/ 49 w 49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7">
                  <a:moveTo>
                    <a:pt x="49" y="57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49" y="28"/>
                  </a:lnTo>
                  <a:lnTo>
                    <a:pt x="49" y="57"/>
                  </a:ln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1" name="任意多边形 390">
              <a:extLst>
                <a:ext uri="{FF2B5EF4-FFF2-40B4-BE49-F238E27FC236}">
                  <a16:creationId xmlns:a16="http://schemas.microsoft.com/office/drawing/2014/main" id="{63EE4916-F578-4775-84BC-28E33AECD842}"/>
                </a:ext>
              </a:extLst>
            </p:cNvPr>
            <p:cNvSpPr/>
            <p:nvPr/>
          </p:nvSpPr>
          <p:spPr bwMode="auto">
            <a:xfrm>
              <a:off x="7493001" y="2198688"/>
              <a:ext cx="74613" cy="92075"/>
            </a:xfrm>
            <a:custGeom>
              <a:avLst/>
              <a:gdLst>
                <a:gd name="T0" fmla="*/ 47 w 47"/>
                <a:gd name="T1" fmla="*/ 58 h 58"/>
                <a:gd name="T2" fmla="*/ 0 w 47"/>
                <a:gd name="T3" fmla="*/ 30 h 58"/>
                <a:gd name="T4" fmla="*/ 0 w 47"/>
                <a:gd name="T5" fmla="*/ 0 h 58"/>
                <a:gd name="T6" fmla="*/ 47 w 47"/>
                <a:gd name="T7" fmla="*/ 28 h 58"/>
                <a:gd name="T8" fmla="*/ 47 w 4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58">
                  <a:moveTo>
                    <a:pt x="47" y="58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47" y="28"/>
                  </a:lnTo>
                  <a:lnTo>
                    <a:pt x="47" y="58"/>
                  </a:ln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2" name="任意多边形 391">
              <a:extLst>
                <a:ext uri="{FF2B5EF4-FFF2-40B4-BE49-F238E27FC236}">
                  <a16:creationId xmlns:a16="http://schemas.microsoft.com/office/drawing/2014/main" id="{7BDD2ABF-CC69-40A4-B6CE-06102B07246F}"/>
                </a:ext>
              </a:extLst>
            </p:cNvPr>
            <p:cNvSpPr/>
            <p:nvPr/>
          </p:nvSpPr>
          <p:spPr bwMode="auto">
            <a:xfrm>
              <a:off x="7591426" y="2257425"/>
              <a:ext cx="76200" cy="90487"/>
            </a:xfrm>
            <a:custGeom>
              <a:avLst/>
              <a:gdLst>
                <a:gd name="T0" fmla="*/ 48 w 48"/>
                <a:gd name="T1" fmla="*/ 57 h 57"/>
                <a:gd name="T2" fmla="*/ 0 w 48"/>
                <a:gd name="T3" fmla="*/ 29 h 57"/>
                <a:gd name="T4" fmla="*/ 0 w 48"/>
                <a:gd name="T5" fmla="*/ 0 h 57"/>
                <a:gd name="T6" fmla="*/ 48 w 48"/>
                <a:gd name="T7" fmla="*/ 27 h 57"/>
                <a:gd name="T8" fmla="*/ 48 w 48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7">
                  <a:moveTo>
                    <a:pt x="48" y="57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48" y="27"/>
                  </a:lnTo>
                  <a:lnTo>
                    <a:pt x="48" y="57"/>
                  </a:ln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3" name="任意多边形 392">
              <a:extLst>
                <a:ext uri="{FF2B5EF4-FFF2-40B4-BE49-F238E27FC236}">
                  <a16:creationId xmlns:a16="http://schemas.microsoft.com/office/drawing/2014/main" id="{D6A3AD4B-87B6-479C-8CDC-35955219CBF8}"/>
                </a:ext>
              </a:extLst>
            </p:cNvPr>
            <p:cNvSpPr/>
            <p:nvPr/>
          </p:nvSpPr>
          <p:spPr bwMode="auto">
            <a:xfrm>
              <a:off x="7688263" y="2311400"/>
              <a:ext cx="77788" cy="93662"/>
            </a:xfrm>
            <a:custGeom>
              <a:avLst/>
              <a:gdLst>
                <a:gd name="T0" fmla="*/ 49 w 49"/>
                <a:gd name="T1" fmla="*/ 59 h 59"/>
                <a:gd name="T2" fmla="*/ 0 w 49"/>
                <a:gd name="T3" fmla="*/ 31 h 59"/>
                <a:gd name="T4" fmla="*/ 0 w 49"/>
                <a:gd name="T5" fmla="*/ 0 h 59"/>
                <a:gd name="T6" fmla="*/ 49 w 49"/>
                <a:gd name="T7" fmla="*/ 30 h 59"/>
                <a:gd name="T8" fmla="*/ 49 w 49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9">
                  <a:moveTo>
                    <a:pt x="49" y="59"/>
                  </a:moveTo>
                  <a:lnTo>
                    <a:pt x="0" y="31"/>
                  </a:lnTo>
                  <a:lnTo>
                    <a:pt x="0" y="0"/>
                  </a:lnTo>
                  <a:lnTo>
                    <a:pt x="49" y="30"/>
                  </a:lnTo>
                  <a:lnTo>
                    <a:pt x="49" y="59"/>
                  </a:ln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4" name="任意多边形 393">
              <a:extLst>
                <a:ext uri="{FF2B5EF4-FFF2-40B4-BE49-F238E27FC236}">
                  <a16:creationId xmlns:a16="http://schemas.microsoft.com/office/drawing/2014/main" id="{45061FAF-385F-43D3-B2D6-A434158BC6E0}"/>
                </a:ext>
              </a:extLst>
            </p:cNvPr>
            <p:cNvSpPr/>
            <p:nvPr/>
          </p:nvSpPr>
          <p:spPr bwMode="auto">
            <a:xfrm>
              <a:off x="7493001" y="2266950"/>
              <a:ext cx="74613" cy="92075"/>
            </a:xfrm>
            <a:custGeom>
              <a:avLst/>
              <a:gdLst>
                <a:gd name="T0" fmla="*/ 47 w 47"/>
                <a:gd name="T1" fmla="*/ 58 h 58"/>
                <a:gd name="T2" fmla="*/ 0 w 47"/>
                <a:gd name="T3" fmla="*/ 30 h 58"/>
                <a:gd name="T4" fmla="*/ 0 w 47"/>
                <a:gd name="T5" fmla="*/ 0 h 58"/>
                <a:gd name="T6" fmla="*/ 47 w 47"/>
                <a:gd name="T7" fmla="*/ 28 h 58"/>
                <a:gd name="T8" fmla="*/ 47 w 4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58">
                  <a:moveTo>
                    <a:pt x="47" y="58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47" y="28"/>
                  </a:lnTo>
                  <a:lnTo>
                    <a:pt x="47" y="58"/>
                  </a:ln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5" name="任意多边形 394">
              <a:extLst>
                <a:ext uri="{FF2B5EF4-FFF2-40B4-BE49-F238E27FC236}">
                  <a16:creationId xmlns:a16="http://schemas.microsoft.com/office/drawing/2014/main" id="{61AA04B3-B922-49A2-A86E-31A9A4DEA7BB}"/>
                </a:ext>
              </a:extLst>
            </p:cNvPr>
            <p:cNvSpPr/>
            <p:nvPr/>
          </p:nvSpPr>
          <p:spPr bwMode="auto">
            <a:xfrm>
              <a:off x="7591426" y="2322513"/>
              <a:ext cx="76200" cy="93662"/>
            </a:xfrm>
            <a:custGeom>
              <a:avLst/>
              <a:gdLst>
                <a:gd name="T0" fmla="*/ 48 w 48"/>
                <a:gd name="T1" fmla="*/ 59 h 59"/>
                <a:gd name="T2" fmla="*/ 0 w 48"/>
                <a:gd name="T3" fmla="*/ 31 h 59"/>
                <a:gd name="T4" fmla="*/ 0 w 48"/>
                <a:gd name="T5" fmla="*/ 0 h 59"/>
                <a:gd name="T6" fmla="*/ 48 w 48"/>
                <a:gd name="T7" fmla="*/ 28 h 59"/>
                <a:gd name="T8" fmla="*/ 48 w 48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9">
                  <a:moveTo>
                    <a:pt x="48" y="59"/>
                  </a:moveTo>
                  <a:lnTo>
                    <a:pt x="0" y="31"/>
                  </a:lnTo>
                  <a:lnTo>
                    <a:pt x="0" y="0"/>
                  </a:lnTo>
                  <a:lnTo>
                    <a:pt x="48" y="28"/>
                  </a:lnTo>
                  <a:lnTo>
                    <a:pt x="48" y="59"/>
                  </a:ln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6" name="任意多边形 395">
              <a:extLst>
                <a:ext uri="{FF2B5EF4-FFF2-40B4-BE49-F238E27FC236}">
                  <a16:creationId xmlns:a16="http://schemas.microsoft.com/office/drawing/2014/main" id="{27795A22-C97E-4763-8A35-36C57C615013}"/>
                </a:ext>
              </a:extLst>
            </p:cNvPr>
            <p:cNvSpPr/>
            <p:nvPr/>
          </p:nvSpPr>
          <p:spPr bwMode="auto">
            <a:xfrm>
              <a:off x="7688263" y="2379663"/>
              <a:ext cx="77788" cy="93662"/>
            </a:xfrm>
            <a:custGeom>
              <a:avLst/>
              <a:gdLst>
                <a:gd name="T0" fmla="*/ 49 w 49"/>
                <a:gd name="T1" fmla="*/ 59 h 59"/>
                <a:gd name="T2" fmla="*/ 0 w 49"/>
                <a:gd name="T3" fmla="*/ 31 h 59"/>
                <a:gd name="T4" fmla="*/ 0 w 49"/>
                <a:gd name="T5" fmla="*/ 0 h 59"/>
                <a:gd name="T6" fmla="*/ 49 w 49"/>
                <a:gd name="T7" fmla="*/ 28 h 59"/>
                <a:gd name="T8" fmla="*/ 49 w 49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9">
                  <a:moveTo>
                    <a:pt x="49" y="59"/>
                  </a:moveTo>
                  <a:lnTo>
                    <a:pt x="0" y="31"/>
                  </a:lnTo>
                  <a:lnTo>
                    <a:pt x="0" y="0"/>
                  </a:lnTo>
                  <a:lnTo>
                    <a:pt x="49" y="28"/>
                  </a:lnTo>
                  <a:lnTo>
                    <a:pt x="49" y="59"/>
                  </a:lnTo>
                  <a:close/>
                </a:path>
              </a:pathLst>
            </a:custGeom>
            <a:solidFill>
              <a:srgbClr val="899D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7" name="任意多边形 396">
              <a:extLst>
                <a:ext uri="{FF2B5EF4-FFF2-40B4-BE49-F238E27FC236}">
                  <a16:creationId xmlns:a16="http://schemas.microsoft.com/office/drawing/2014/main" id="{7EACC413-CC30-4C67-9B9A-0E1CEB962141}"/>
                </a:ext>
              </a:extLst>
            </p:cNvPr>
            <p:cNvSpPr/>
            <p:nvPr/>
          </p:nvSpPr>
          <p:spPr bwMode="auto">
            <a:xfrm>
              <a:off x="8070851" y="1633538"/>
              <a:ext cx="104775" cy="117475"/>
            </a:xfrm>
            <a:custGeom>
              <a:avLst/>
              <a:gdLst>
                <a:gd name="T0" fmla="*/ 22 w 40"/>
                <a:gd name="T1" fmla="*/ 3 h 45"/>
                <a:gd name="T2" fmla="*/ 26 w 40"/>
                <a:gd name="T3" fmla="*/ 14 h 45"/>
                <a:gd name="T4" fmla="*/ 28 w 40"/>
                <a:gd name="T5" fmla="*/ 16 h 45"/>
                <a:gd name="T6" fmla="*/ 37 w 40"/>
                <a:gd name="T7" fmla="*/ 23 h 45"/>
                <a:gd name="T8" fmla="*/ 38 w 40"/>
                <a:gd name="T9" fmla="*/ 28 h 45"/>
                <a:gd name="T10" fmla="*/ 32 w 40"/>
                <a:gd name="T11" fmla="*/ 30 h 45"/>
                <a:gd name="T12" fmla="*/ 31 w 40"/>
                <a:gd name="T13" fmla="*/ 32 h 45"/>
                <a:gd name="T14" fmla="*/ 32 w 40"/>
                <a:gd name="T15" fmla="*/ 42 h 45"/>
                <a:gd name="T16" fmla="*/ 29 w 40"/>
                <a:gd name="T17" fmla="*/ 43 h 45"/>
                <a:gd name="T18" fmla="*/ 21 w 40"/>
                <a:gd name="T19" fmla="*/ 34 h 45"/>
                <a:gd name="T20" fmla="*/ 19 w 40"/>
                <a:gd name="T21" fmla="*/ 32 h 45"/>
                <a:gd name="T22" fmla="*/ 10 w 40"/>
                <a:gd name="T23" fmla="*/ 32 h 45"/>
                <a:gd name="T24" fmla="*/ 7 w 40"/>
                <a:gd name="T25" fmla="*/ 28 h 45"/>
                <a:gd name="T26" fmla="*/ 9 w 40"/>
                <a:gd name="T27" fmla="*/ 19 h 45"/>
                <a:gd name="T28" fmla="*/ 8 w 40"/>
                <a:gd name="T29" fmla="*/ 17 h 45"/>
                <a:gd name="T30" fmla="*/ 1 w 40"/>
                <a:gd name="T31" fmla="*/ 6 h 45"/>
                <a:gd name="T32" fmla="*/ 3 w 40"/>
                <a:gd name="T33" fmla="*/ 3 h 45"/>
                <a:gd name="T34" fmla="*/ 12 w 40"/>
                <a:gd name="T35" fmla="*/ 7 h 45"/>
                <a:gd name="T36" fmla="*/ 14 w 40"/>
                <a:gd name="T37" fmla="*/ 7 h 45"/>
                <a:gd name="T38" fmla="*/ 18 w 40"/>
                <a:gd name="T39" fmla="*/ 1 h 45"/>
                <a:gd name="T40" fmla="*/ 22 w 40"/>
                <a:gd name="T41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45">
                  <a:moveTo>
                    <a:pt x="22" y="3"/>
                  </a:moveTo>
                  <a:cubicBezTo>
                    <a:pt x="26" y="14"/>
                    <a:pt x="26" y="14"/>
                    <a:pt x="26" y="14"/>
                  </a:cubicBezTo>
                  <a:cubicBezTo>
                    <a:pt x="26" y="15"/>
                    <a:pt x="27" y="16"/>
                    <a:pt x="28" y="16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9" y="24"/>
                    <a:pt x="40" y="27"/>
                    <a:pt x="38" y="28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1" y="31"/>
                    <a:pt x="31" y="31"/>
                    <a:pt x="31" y="3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4"/>
                    <a:pt x="31" y="45"/>
                    <a:pt x="29" y="43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0" y="33"/>
                    <a:pt x="19" y="32"/>
                    <a:pt x="19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9" y="32"/>
                    <a:pt x="7" y="29"/>
                    <a:pt x="7" y="28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8"/>
                    <a:pt x="8" y="1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1" y="2"/>
                    <a:pt x="3" y="3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3" y="8"/>
                    <a:pt x="13" y="7"/>
                    <a:pt x="14" y="7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1" y="1"/>
                    <a:pt x="22" y="3"/>
                  </a:cubicBezTo>
                  <a:close/>
                </a:path>
              </a:pathLst>
            </a:custGeom>
            <a:solidFill>
              <a:srgbClr val="D651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8" name="任意多边形 397">
              <a:extLst>
                <a:ext uri="{FF2B5EF4-FFF2-40B4-BE49-F238E27FC236}">
                  <a16:creationId xmlns:a16="http://schemas.microsoft.com/office/drawing/2014/main" id="{4B4615E3-5692-4C47-8B42-3C38372B6239}"/>
                </a:ext>
              </a:extLst>
            </p:cNvPr>
            <p:cNvSpPr/>
            <p:nvPr/>
          </p:nvSpPr>
          <p:spPr bwMode="auto">
            <a:xfrm>
              <a:off x="8204201" y="3678238"/>
              <a:ext cx="20638" cy="185737"/>
            </a:xfrm>
            <a:custGeom>
              <a:avLst/>
              <a:gdLst>
                <a:gd name="T0" fmla="*/ 13 w 13"/>
                <a:gd name="T1" fmla="*/ 0 h 117"/>
                <a:gd name="T2" fmla="*/ 13 w 13"/>
                <a:gd name="T3" fmla="*/ 67 h 117"/>
                <a:gd name="T4" fmla="*/ 0 w 13"/>
                <a:gd name="T5" fmla="*/ 117 h 117"/>
                <a:gd name="T6" fmla="*/ 0 w 13"/>
                <a:gd name="T7" fmla="*/ 49 h 117"/>
                <a:gd name="T8" fmla="*/ 13 w 13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7">
                  <a:moveTo>
                    <a:pt x="13" y="0"/>
                  </a:moveTo>
                  <a:lnTo>
                    <a:pt x="13" y="67"/>
                  </a:lnTo>
                  <a:lnTo>
                    <a:pt x="0" y="117"/>
                  </a:lnTo>
                  <a:lnTo>
                    <a:pt x="0" y="49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B7A6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9" name="任意多边形 398">
              <a:extLst>
                <a:ext uri="{FF2B5EF4-FFF2-40B4-BE49-F238E27FC236}">
                  <a16:creationId xmlns:a16="http://schemas.microsoft.com/office/drawing/2014/main" id="{09E37238-C79B-42BE-BABF-4624E0BF9407}"/>
                </a:ext>
              </a:extLst>
            </p:cNvPr>
            <p:cNvSpPr/>
            <p:nvPr/>
          </p:nvSpPr>
          <p:spPr bwMode="auto">
            <a:xfrm>
              <a:off x="8008938" y="3670300"/>
              <a:ext cx="215900" cy="98425"/>
            </a:xfrm>
            <a:custGeom>
              <a:avLst/>
              <a:gdLst>
                <a:gd name="T0" fmla="*/ 120 w 136"/>
                <a:gd name="T1" fmla="*/ 10 h 62"/>
                <a:gd name="T2" fmla="*/ 120 w 136"/>
                <a:gd name="T3" fmla="*/ 0 h 62"/>
                <a:gd name="T4" fmla="*/ 136 w 136"/>
                <a:gd name="T5" fmla="*/ 5 h 62"/>
                <a:gd name="T6" fmla="*/ 123 w 136"/>
                <a:gd name="T7" fmla="*/ 54 h 62"/>
                <a:gd name="T8" fmla="*/ 39 w 136"/>
                <a:gd name="T9" fmla="*/ 62 h 62"/>
                <a:gd name="T10" fmla="*/ 0 w 136"/>
                <a:gd name="T11" fmla="*/ 18 h 62"/>
                <a:gd name="T12" fmla="*/ 18 w 136"/>
                <a:gd name="T13" fmla="*/ 8 h 62"/>
                <a:gd name="T14" fmla="*/ 18 w 136"/>
                <a:gd name="T15" fmla="*/ 20 h 62"/>
                <a:gd name="T16" fmla="*/ 48 w 136"/>
                <a:gd name="T17" fmla="*/ 53 h 62"/>
                <a:gd name="T18" fmla="*/ 110 w 136"/>
                <a:gd name="T19" fmla="*/ 46 h 62"/>
                <a:gd name="T20" fmla="*/ 120 w 136"/>
                <a:gd name="T21" fmla="*/ 1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" h="62">
                  <a:moveTo>
                    <a:pt x="120" y="10"/>
                  </a:moveTo>
                  <a:lnTo>
                    <a:pt x="120" y="0"/>
                  </a:lnTo>
                  <a:lnTo>
                    <a:pt x="136" y="5"/>
                  </a:lnTo>
                  <a:lnTo>
                    <a:pt x="123" y="54"/>
                  </a:lnTo>
                  <a:lnTo>
                    <a:pt x="39" y="62"/>
                  </a:lnTo>
                  <a:lnTo>
                    <a:pt x="0" y="18"/>
                  </a:lnTo>
                  <a:lnTo>
                    <a:pt x="18" y="8"/>
                  </a:lnTo>
                  <a:lnTo>
                    <a:pt x="18" y="20"/>
                  </a:lnTo>
                  <a:lnTo>
                    <a:pt x="48" y="53"/>
                  </a:lnTo>
                  <a:lnTo>
                    <a:pt x="110" y="46"/>
                  </a:lnTo>
                  <a:lnTo>
                    <a:pt x="120" y="10"/>
                  </a:lnTo>
                  <a:close/>
                </a:path>
              </a:pathLst>
            </a:custGeom>
            <a:solidFill>
              <a:srgbClr val="F2E9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0" name="任意多边形 399">
              <a:extLst>
                <a:ext uri="{FF2B5EF4-FFF2-40B4-BE49-F238E27FC236}">
                  <a16:creationId xmlns:a16="http://schemas.microsoft.com/office/drawing/2014/main" id="{A9A75F04-B746-41E6-9C10-7BA9DFA24200}"/>
                </a:ext>
              </a:extLst>
            </p:cNvPr>
            <p:cNvSpPr/>
            <p:nvPr/>
          </p:nvSpPr>
          <p:spPr bwMode="auto">
            <a:xfrm>
              <a:off x="8070851" y="3756025"/>
              <a:ext cx="133350" cy="117475"/>
            </a:xfrm>
            <a:custGeom>
              <a:avLst/>
              <a:gdLst>
                <a:gd name="T0" fmla="*/ 84 w 84"/>
                <a:gd name="T1" fmla="*/ 0 h 74"/>
                <a:gd name="T2" fmla="*/ 84 w 84"/>
                <a:gd name="T3" fmla="*/ 68 h 74"/>
                <a:gd name="T4" fmla="*/ 81 w 84"/>
                <a:gd name="T5" fmla="*/ 68 h 74"/>
                <a:gd name="T6" fmla="*/ 71 w 84"/>
                <a:gd name="T7" fmla="*/ 68 h 74"/>
                <a:gd name="T8" fmla="*/ 9 w 84"/>
                <a:gd name="T9" fmla="*/ 74 h 74"/>
                <a:gd name="T10" fmla="*/ 0 w 84"/>
                <a:gd name="T11" fmla="*/ 74 h 74"/>
                <a:gd name="T12" fmla="*/ 0 w 84"/>
                <a:gd name="T13" fmla="*/ 8 h 74"/>
                <a:gd name="T14" fmla="*/ 84 w 84"/>
                <a:gd name="T1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74">
                  <a:moveTo>
                    <a:pt x="84" y="0"/>
                  </a:moveTo>
                  <a:lnTo>
                    <a:pt x="84" y="68"/>
                  </a:lnTo>
                  <a:lnTo>
                    <a:pt x="81" y="68"/>
                  </a:lnTo>
                  <a:lnTo>
                    <a:pt x="71" y="68"/>
                  </a:lnTo>
                  <a:lnTo>
                    <a:pt x="9" y="74"/>
                  </a:lnTo>
                  <a:lnTo>
                    <a:pt x="0" y="74"/>
                  </a:lnTo>
                  <a:lnTo>
                    <a:pt x="0" y="8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D3C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1" name="任意多边形 400">
              <a:extLst>
                <a:ext uri="{FF2B5EF4-FFF2-40B4-BE49-F238E27FC236}">
                  <a16:creationId xmlns:a16="http://schemas.microsoft.com/office/drawing/2014/main" id="{775619A6-4CF0-4DA0-B860-F8B4EA394F91}"/>
                </a:ext>
              </a:extLst>
            </p:cNvPr>
            <p:cNvSpPr/>
            <p:nvPr/>
          </p:nvSpPr>
          <p:spPr bwMode="auto">
            <a:xfrm>
              <a:off x="8183563" y="2197100"/>
              <a:ext cx="15875" cy="1546225"/>
            </a:xfrm>
            <a:custGeom>
              <a:avLst/>
              <a:gdLst>
                <a:gd name="T0" fmla="*/ 10 w 10"/>
                <a:gd name="T1" fmla="*/ 938 h 974"/>
                <a:gd name="T2" fmla="*/ 0 w 10"/>
                <a:gd name="T3" fmla="*/ 974 h 974"/>
                <a:gd name="T4" fmla="*/ 0 w 10"/>
                <a:gd name="T5" fmla="*/ 36 h 974"/>
                <a:gd name="T6" fmla="*/ 10 w 10"/>
                <a:gd name="T7" fmla="*/ 0 h 974"/>
                <a:gd name="T8" fmla="*/ 10 w 10"/>
                <a:gd name="T9" fmla="*/ 928 h 974"/>
                <a:gd name="T10" fmla="*/ 10 w 10"/>
                <a:gd name="T11" fmla="*/ 938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974">
                  <a:moveTo>
                    <a:pt x="10" y="938"/>
                  </a:moveTo>
                  <a:lnTo>
                    <a:pt x="0" y="974"/>
                  </a:lnTo>
                  <a:lnTo>
                    <a:pt x="0" y="36"/>
                  </a:lnTo>
                  <a:lnTo>
                    <a:pt x="10" y="0"/>
                  </a:lnTo>
                  <a:lnTo>
                    <a:pt x="10" y="928"/>
                  </a:lnTo>
                  <a:lnTo>
                    <a:pt x="10" y="938"/>
                  </a:lnTo>
                  <a:close/>
                </a:path>
              </a:pathLst>
            </a:custGeom>
            <a:solidFill>
              <a:srgbClr val="D38C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2" name="任意多边形 401">
              <a:extLst>
                <a:ext uri="{FF2B5EF4-FFF2-40B4-BE49-F238E27FC236}">
                  <a16:creationId xmlns:a16="http://schemas.microsoft.com/office/drawing/2014/main" id="{A964EE44-885C-4EB6-9403-49025E819773}"/>
                </a:ext>
              </a:extLst>
            </p:cNvPr>
            <p:cNvSpPr/>
            <p:nvPr/>
          </p:nvSpPr>
          <p:spPr bwMode="auto">
            <a:xfrm>
              <a:off x="8147051" y="2019300"/>
              <a:ext cx="52388" cy="234950"/>
            </a:xfrm>
            <a:custGeom>
              <a:avLst/>
              <a:gdLst>
                <a:gd name="T0" fmla="*/ 2 w 20"/>
                <a:gd name="T1" fmla="*/ 0 h 90"/>
                <a:gd name="T2" fmla="*/ 20 w 20"/>
                <a:gd name="T3" fmla="*/ 68 h 90"/>
                <a:gd name="T4" fmla="*/ 14 w 20"/>
                <a:gd name="T5" fmla="*/ 90 h 90"/>
                <a:gd name="T6" fmla="*/ 0 w 20"/>
                <a:gd name="T7" fmla="*/ 9 h 90"/>
                <a:gd name="T8" fmla="*/ 2 w 20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90">
                  <a:moveTo>
                    <a:pt x="2" y="0"/>
                  </a:moveTo>
                  <a:cubicBezTo>
                    <a:pt x="20" y="68"/>
                    <a:pt x="20" y="68"/>
                    <a:pt x="20" y="68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6"/>
                    <a:pt x="1" y="3"/>
                    <a:pt x="2" y="0"/>
                  </a:cubicBezTo>
                  <a:close/>
                </a:path>
              </a:pathLst>
            </a:custGeom>
            <a:solidFill>
              <a:srgbClr val="C6B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3" name="任意多边形 402">
              <a:extLst>
                <a:ext uri="{FF2B5EF4-FFF2-40B4-BE49-F238E27FC236}">
                  <a16:creationId xmlns:a16="http://schemas.microsoft.com/office/drawing/2014/main" id="{84A3024F-C16E-4E65-9EE5-659CB87875B2}"/>
                </a:ext>
              </a:extLst>
            </p:cNvPr>
            <p:cNvSpPr/>
            <p:nvPr/>
          </p:nvSpPr>
          <p:spPr bwMode="auto">
            <a:xfrm>
              <a:off x="8183563" y="3863975"/>
              <a:ext cx="15875" cy="50800"/>
            </a:xfrm>
            <a:custGeom>
              <a:avLst/>
              <a:gdLst>
                <a:gd name="T0" fmla="*/ 10 w 10"/>
                <a:gd name="T1" fmla="*/ 0 h 32"/>
                <a:gd name="T2" fmla="*/ 0 w 10"/>
                <a:gd name="T3" fmla="*/ 32 h 32"/>
                <a:gd name="T4" fmla="*/ 0 w 10"/>
                <a:gd name="T5" fmla="*/ 0 h 32"/>
                <a:gd name="T6" fmla="*/ 0 w 10"/>
                <a:gd name="T7" fmla="*/ 0 h 32"/>
                <a:gd name="T8" fmla="*/ 10 w 10"/>
                <a:gd name="T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2">
                  <a:moveTo>
                    <a:pt x="10" y="0"/>
                  </a:moveTo>
                  <a:lnTo>
                    <a:pt x="0" y="32"/>
                  </a:lnTo>
                  <a:lnTo>
                    <a:pt x="0" y="0"/>
                  </a:lnTo>
                  <a:lnTo>
                    <a:pt x="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A55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4" name="任意多边形 403">
              <a:extLst>
                <a:ext uri="{FF2B5EF4-FFF2-40B4-BE49-F238E27FC236}">
                  <a16:creationId xmlns:a16="http://schemas.microsoft.com/office/drawing/2014/main" id="{48476354-B2F6-448D-947D-0491D2A01274}"/>
                </a:ext>
              </a:extLst>
            </p:cNvPr>
            <p:cNvSpPr/>
            <p:nvPr/>
          </p:nvSpPr>
          <p:spPr bwMode="auto">
            <a:xfrm>
              <a:off x="8085138" y="3863975"/>
              <a:ext cx="98425" cy="58737"/>
            </a:xfrm>
            <a:custGeom>
              <a:avLst/>
              <a:gdLst>
                <a:gd name="T0" fmla="*/ 62 w 62"/>
                <a:gd name="T1" fmla="*/ 0 h 37"/>
                <a:gd name="T2" fmla="*/ 62 w 62"/>
                <a:gd name="T3" fmla="*/ 32 h 37"/>
                <a:gd name="T4" fmla="*/ 0 w 62"/>
                <a:gd name="T5" fmla="*/ 37 h 37"/>
                <a:gd name="T6" fmla="*/ 0 w 62"/>
                <a:gd name="T7" fmla="*/ 6 h 37"/>
                <a:gd name="T8" fmla="*/ 62 w 62"/>
                <a:gd name="T9" fmla="*/ 0 h 37"/>
                <a:gd name="T10" fmla="*/ 62 w 62"/>
                <a:gd name="T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37">
                  <a:moveTo>
                    <a:pt x="62" y="0"/>
                  </a:moveTo>
                  <a:lnTo>
                    <a:pt x="62" y="32"/>
                  </a:lnTo>
                  <a:lnTo>
                    <a:pt x="0" y="37"/>
                  </a:lnTo>
                  <a:lnTo>
                    <a:pt x="0" y="6"/>
                  </a:lnTo>
                  <a:lnTo>
                    <a:pt x="62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CC7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5" name="任意多边形 404">
              <a:extLst>
                <a:ext uri="{FF2B5EF4-FFF2-40B4-BE49-F238E27FC236}">
                  <a16:creationId xmlns:a16="http://schemas.microsoft.com/office/drawing/2014/main" id="{536EF6AC-95A2-48A9-8DB3-BC12442BB76E}"/>
                </a:ext>
              </a:extLst>
            </p:cNvPr>
            <p:cNvSpPr/>
            <p:nvPr/>
          </p:nvSpPr>
          <p:spPr bwMode="auto">
            <a:xfrm>
              <a:off x="8085138" y="2254250"/>
              <a:ext cx="98425" cy="1500187"/>
            </a:xfrm>
            <a:custGeom>
              <a:avLst/>
              <a:gdLst>
                <a:gd name="T0" fmla="*/ 62 w 62"/>
                <a:gd name="T1" fmla="*/ 0 h 945"/>
                <a:gd name="T2" fmla="*/ 62 w 62"/>
                <a:gd name="T3" fmla="*/ 938 h 945"/>
                <a:gd name="T4" fmla="*/ 0 w 62"/>
                <a:gd name="T5" fmla="*/ 945 h 945"/>
                <a:gd name="T6" fmla="*/ 0 w 62"/>
                <a:gd name="T7" fmla="*/ 6 h 945"/>
                <a:gd name="T8" fmla="*/ 62 w 62"/>
                <a:gd name="T9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945">
                  <a:moveTo>
                    <a:pt x="62" y="0"/>
                  </a:moveTo>
                  <a:lnTo>
                    <a:pt x="62" y="938"/>
                  </a:lnTo>
                  <a:lnTo>
                    <a:pt x="0" y="945"/>
                  </a:lnTo>
                  <a:lnTo>
                    <a:pt x="0" y="6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F2A3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6" name="任意多边形 405">
              <a:extLst>
                <a:ext uri="{FF2B5EF4-FFF2-40B4-BE49-F238E27FC236}">
                  <a16:creationId xmlns:a16="http://schemas.microsoft.com/office/drawing/2014/main" id="{A477CF0B-BD2A-4E88-98B4-51FC1957D293}"/>
                </a:ext>
              </a:extLst>
            </p:cNvPr>
            <p:cNvSpPr/>
            <p:nvPr/>
          </p:nvSpPr>
          <p:spPr bwMode="auto">
            <a:xfrm>
              <a:off x="8085138" y="2043113"/>
              <a:ext cx="98425" cy="220662"/>
            </a:xfrm>
            <a:custGeom>
              <a:avLst/>
              <a:gdLst>
                <a:gd name="T0" fmla="*/ 24 w 38"/>
                <a:gd name="T1" fmla="*/ 0 h 85"/>
                <a:gd name="T2" fmla="*/ 38 w 38"/>
                <a:gd name="T3" fmla="*/ 81 h 85"/>
                <a:gd name="T4" fmla="*/ 0 w 38"/>
                <a:gd name="T5" fmla="*/ 85 h 85"/>
                <a:gd name="T6" fmla="*/ 9 w 38"/>
                <a:gd name="T7" fmla="*/ 1 h 85"/>
                <a:gd name="T8" fmla="*/ 24 w 38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85">
                  <a:moveTo>
                    <a:pt x="24" y="0"/>
                  </a:moveTo>
                  <a:cubicBezTo>
                    <a:pt x="38" y="81"/>
                    <a:pt x="38" y="81"/>
                    <a:pt x="38" y="8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4" y="1"/>
                    <a:pt x="19" y="0"/>
                    <a:pt x="24" y="0"/>
                  </a:cubicBezTo>
                  <a:close/>
                </a:path>
              </a:pathLst>
            </a:custGeom>
            <a:solidFill>
              <a:srgbClr val="D3C7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7" name="任意多边形 406">
              <a:extLst>
                <a:ext uri="{FF2B5EF4-FFF2-40B4-BE49-F238E27FC236}">
                  <a16:creationId xmlns:a16="http://schemas.microsoft.com/office/drawing/2014/main" id="{17783BD7-1B16-4405-93C2-EBF87C509B83}"/>
                </a:ext>
              </a:extLst>
            </p:cNvPr>
            <p:cNvSpPr/>
            <p:nvPr/>
          </p:nvSpPr>
          <p:spPr bwMode="auto">
            <a:xfrm>
              <a:off x="8123238" y="1914525"/>
              <a:ext cx="28575" cy="128587"/>
            </a:xfrm>
            <a:custGeom>
              <a:avLst/>
              <a:gdLst>
                <a:gd name="T0" fmla="*/ 11 w 11"/>
                <a:gd name="T1" fmla="*/ 40 h 49"/>
                <a:gd name="T2" fmla="*/ 9 w 11"/>
                <a:gd name="T3" fmla="*/ 49 h 49"/>
                <a:gd name="T4" fmla="*/ 9 w 11"/>
                <a:gd name="T5" fmla="*/ 49 h 49"/>
                <a:gd name="T6" fmla="*/ 0 w 11"/>
                <a:gd name="T7" fmla="*/ 0 h 49"/>
                <a:gd name="T8" fmla="*/ 11 w 11"/>
                <a:gd name="T9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49">
                  <a:moveTo>
                    <a:pt x="11" y="40"/>
                  </a:moveTo>
                  <a:cubicBezTo>
                    <a:pt x="10" y="43"/>
                    <a:pt x="9" y="46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1" y="40"/>
                  </a:lnTo>
                  <a:close/>
                </a:path>
              </a:pathLst>
            </a:custGeom>
            <a:solidFill>
              <a:srgbClr val="3F4F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8" name="任意多边形 407">
              <a:extLst>
                <a:ext uri="{FF2B5EF4-FFF2-40B4-BE49-F238E27FC236}">
                  <a16:creationId xmlns:a16="http://schemas.microsoft.com/office/drawing/2014/main" id="{A490F1F4-CF83-41A7-9185-45366CD9FCE3}"/>
                </a:ext>
              </a:extLst>
            </p:cNvPr>
            <p:cNvSpPr/>
            <p:nvPr/>
          </p:nvSpPr>
          <p:spPr bwMode="auto">
            <a:xfrm>
              <a:off x="8107363" y="1914525"/>
              <a:ext cx="39688" cy="130175"/>
            </a:xfrm>
            <a:custGeom>
              <a:avLst/>
              <a:gdLst>
                <a:gd name="T0" fmla="*/ 6 w 15"/>
                <a:gd name="T1" fmla="*/ 0 h 50"/>
                <a:gd name="T2" fmla="*/ 15 w 15"/>
                <a:gd name="T3" fmla="*/ 49 h 50"/>
                <a:gd name="T4" fmla="*/ 0 w 15"/>
                <a:gd name="T5" fmla="*/ 50 h 50"/>
                <a:gd name="T6" fmla="*/ 6 w 15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50">
                  <a:moveTo>
                    <a:pt x="6" y="0"/>
                  </a:moveTo>
                  <a:cubicBezTo>
                    <a:pt x="15" y="49"/>
                    <a:pt x="15" y="49"/>
                    <a:pt x="15" y="49"/>
                  </a:cubicBezTo>
                  <a:cubicBezTo>
                    <a:pt x="10" y="49"/>
                    <a:pt x="5" y="50"/>
                    <a:pt x="0" y="5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3F4F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9" name="任意多边形 408">
              <a:extLst>
                <a:ext uri="{FF2B5EF4-FFF2-40B4-BE49-F238E27FC236}">
                  <a16:creationId xmlns:a16="http://schemas.microsoft.com/office/drawing/2014/main" id="{17A1CAB0-5F53-419E-85AF-5D43E24BD3C5}"/>
                </a:ext>
              </a:extLst>
            </p:cNvPr>
            <p:cNvSpPr/>
            <p:nvPr/>
          </p:nvSpPr>
          <p:spPr bwMode="auto">
            <a:xfrm>
              <a:off x="8089901" y="1914525"/>
              <a:ext cx="33338" cy="130175"/>
            </a:xfrm>
            <a:custGeom>
              <a:avLst/>
              <a:gdLst>
                <a:gd name="T0" fmla="*/ 0 w 13"/>
                <a:gd name="T1" fmla="*/ 43 h 50"/>
                <a:gd name="T2" fmla="*/ 13 w 13"/>
                <a:gd name="T3" fmla="*/ 0 h 50"/>
                <a:gd name="T4" fmla="*/ 7 w 13"/>
                <a:gd name="T5" fmla="*/ 50 h 50"/>
                <a:gd name="T6" fmla="*/ 0 w 13"/>
                <a:gd name="T7" fmla="*/ 4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50">
                  <a:moveTo>
                    <a:pt x="0" y="43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5" y="48"/>
                    <a:pt x="3" y="45"/>
                    <a:pt x="0" y="43"/>
                  </a:cubicBezTo>
                  <a:close/>
                </a:path>
              </a:pathLst>
            </a:custGeom>
            <a:solidFill>
              <a:srgbClr val="5D65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" name="任意多边形 409">
              <a:extLst>
                <a:ext uri="{FF2B5EF4-FFF2-40B4-BE49-F238E27FC236}">
                  <a16:creationId xmlns:a16="http://schemas.microsoft.com/office/drawing/2014/main" id="{295379CE-06B9-4EA8-A604-891117CEC215}"/>
                </a:ext>
              </a:extLst>
            </p:cNvPr>
            <p:cNvSpPr/>
            <p:nvPr/>
          </p:nvSpPr>
          <p:spPr bwMode="auto">
            <a:xfrm>
              <a:off x="8037513" y="2212975"/>
              <a:ext cx="47625" cy="1541462"/>
            </a:xfrm>
            <a:custGeom>
              <a:avLst/>
              <a:gdLst>
                <a:gd name="T0" fmla="*/ 0 w 30"/>
                <a:gd name="T1" fmla="*/ 938 h 971"/>
                <a:gd name="T2" fmla="*/ 0 w 30"/>
                <a:gd name="T3" fmla="*/ 926 h 971"/>
                <a:gd name="T4" fmla="*/ 0 w 30"/>
                <a:gd name="T5" fmla="*/ 0 h 971"/>
                <a:gd name="T6" fmla="*/ 30 w 30"/>
                <a:gd name="T7" fmla="*/ 32 h 971"/>
                <a:gd name="T8" fmla="*/ 30 w 30"/>
                <a:gd name="T9" fmla="*/ 971 h 971"/>
                <a:gd name="T10" fmla="*/ 0 w 30"/>
                <a:gd name="T11" fmla="*/ 938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971">
                  <a:moveTo>
                    <a:pt x="0" y="938"/>
                  </a:moveTo>
                  <a:lnTo>
                    <a:pt x="0" y="926"/>
                  </a:lnTo>
                  <a:lnTo>
                    <a:pt x="0" y="0"/>
                  </a:lnTo>
                  <a:lnTo>
                    <a:pt x="30" y="32"/>
                  </a:lnTo>
                  <a:lnTo>
                    <a:pt x="30" y="971"/>
                  </a:lnTo>
                  <a:lnTo>
                    <a:pt x="0" y="938"/>
                  </a:lnTo>
                  <a:close/>
                </a:path>
              </a:pathLst>
            </a:custGeom>
            <a:solidFill>
              <a:srgbClr val="F6BA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" name="任意多边形 410">
              <a:extLst>
                <a:ext uri="{FF2B5EF4-FFF2-40B4-BE49-F238E27FC236}">
                  <a16:creationId xmlns:a16="http://schemas.microsoft.com/office/drawing/2014/main" id="{61E75BB5-B549-435E-96CF-12DE36995503}"/>
                </a:ext>
              </a:extLst>
            </p:cNvPr>
            <p:cNvSpPr/>
            <p:nvPr/>
          </p:nvSpPr>
          <p:spPr bwMode="auto">
            <a:xfrm>
              <a:off x="8008938" y="3698875"/>
              <a:ext cx="61913" cy="174625"/>
            </a:xfrm>
            <a:custGeom>
              <a:avLst/>
              <a:gdLst>
                <a:gd name="T0" fmla="*/ 39 w 39"/>
                <a:gd name="T1" fmla="*/ 44 h 110"/>
                <a:gd name="T2" fmla="*/ 39 w 39"/>
                <a:gd name="T3" fmla="*/ 110 h 110"/>
                <a:gd name="T4" fmla="*/ 18 w 39"/>
                <a:gd name="T5" fmla="*/ 87 h 110"/>
                <a:gd name="T6" fmla="*/ 0 w 39"/>
                <a:gd name="T7" fmla="*/ 67 h 110"/>
                <a:gd name="T8" fmla="*/ 0 w 39"/>
                <a:gd name="T9" fmla="*/ 0 h 110"/>
                <a:gd name="T10" fmla="*/ 39 w 39"/>
                <a:gd name="T11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110">
                  <a:moveTo>
                    <a:pt x="39" y="44"/>
                  </a:moveTo>
                  <a:lnTo>
                    <a:pt x="39" y="110"/>
                  </a:lnTo>
                  <a:lnTo>
                    <a:pt x="18" y="8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39" y="44"/>
                  </a:lnTo>
                  <a:close/>
                </a:path>
              </a:pathLst>
            </a:custGeom>
            <a:solidFill>
              <a:srgbClr val="EAD9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2" name="任意多边形 411">
              <a:extLst>
                <a:ext uri="{FF2B5EF4-FFF2-40B4-BE49-F238E27FC236}">
                  <a16:creationId xmlns:a16="http://schemas.microsoft.com/office/drawing/2014/main" id="{CC76E2B5-172A-451A-ADBC-FE56F4B72CAF}"/>
                </a:ext>
              </a:extLst>
            </p:cNvPr>
            <p:cNvSpPr/>
            <p:nvPr/>
          </p:nvSpPr>
          <p:spPr bwMode="auto">
            <a:xfrm>
              <a:off x="8037513" y="2027238"/>
              <a:ext cx="69850" cy="236537"/>
            </a:xfrm>
            <a:custGeom>
              <a:avLst/>
              <a:gdLst>
                <a:gd name="T0" fmla="*/ 0 w 27"/>
                <a:gd name="T1" fmla="*/ 71 h 91"/>
                <a:gd name="T2" fmla="*/ 20 w 27"/>
                <a:gd name="T3" fmla="*/ 0 h 91"/>
                <a:gd name="T4" fmla="*/ 27 w 27"/>
                <a:gd name="T5" fmla="*/ 7 h 91"/>
                <a:gd name="T6" fmla="*/ 18 w 27"/>
                <a:gd name="T7" fmla="*/ 91 h 91"/>
                <a:gd name="T8" fmla="*/ 0 w 27"/>
                <a:gd name="T9" fmla="*/ 7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91">
                  <a:moveTo>
                    <a:pt x="0" y="71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3" y="2"/>
                    <a:pt x="25" y="5"/>
                    <a:pt x="27" y="7"/>
                  </a:cubicBezTo>
                  <a:cubicBezTo>
                    <a:pt x="18" y="91"/>
                    <a:pt x="18" y="91"/>
                    <a:pt x="18" y="91"/>
                  </a:cubicBezTo>
                  <a:lnTo>
                    <a:pt x="0" y="71"/>
                  </a:lnTo>
                  <a:close/>
                </a:path>
              </a:pathLst>
            </a:custGeom>
            <a:solidFill>
              <a:srgbClr val="E5D9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3" name="任意多边形 412">
              <a:extLst>
                <a:ext uri="{FF2B5EF4-FFF2-40B4-BE49-F238E27FC236}">
                  <a16:creationId xmlns:a16="http://schemas.microsoft.com/office/drawing/2014/main" id="{693BB265-5371-4481-96F8-1C03032197C3}"/>
                </a:ext>
              </a:extLst>
            </p:cNvPr>
            <p:cNvSpPr/>
            <p:nvPr/>
          </p:nvSpPr>
          <p:spPr bwMode="auto">
            <a:xfrm>
              <a:off x="8037513" y="3836988"/>
              <a:ext cx="47625" cy="85725"/>
            </a:xfrm>
            <a:custGeom>
              <a:avLst/>
              <a:gdLst>
                <a:gd name="T0" fmla="*/ 0 w 30"/>
                <a:gd name="T1" fmla="*/ 21 h 54"/>
                <a:gd name="T2" fmla="*/ 0 w 30"/>
                <a:gd name="T3" fmla="*/ 0 h 54"/>
                <a:gd name="T4" fmla="*/ 0 w 30"/>
                <a:gd name="T5" fmla="*/ 0 h 54"/>
                <a:gd name="T6" fmla="*/ 21 w 30"/>
                <a:gd name="T7" fmla="*/ 23 h 54"/>
                <a:gd name="T8" fmla="*/ 30 w 30"/>
                <a:gd name="T9" fmla="*/ 23 h 54"/>
                <a:gd name="T10" fmla="*/ 30 w 30"/>
                <a:gd name="T11" fmla="*/ 54 h 54"/>
                <a:gd name="T12" fmla="*/ 0 w 30"/>
                <a:gd name="T13" fmla="*/ 2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4">
                  <a:moveTo>
                    <a:pt x="0" y="2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1" y="23"/>
                  </a:lnTo>
                  <a:lnTo>
                    <a:pt x="30" y="23"/>
                  </a:lnTo>
                  <a:lnTo>
                    <a:pt x="30" y="54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E0A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4" name="任意多边形 413">
              <a:extLst>
                <a:ext uri="{FF2B5EF4-FFF2-40B4-BE49-F238E27FC236}">
                  <a16:creationId xmlns:a16="http://schemas.microsoft.com/office/drawing/2014/main" id="{0EE6E90D-4C8C-4E69-AC9A-CDE4C2E818CA}"/>
                </a:ext>
              </a:extLst>
            </p:cNvPr>
            <p:cNvSpPr/>
            <p:nvPr/>
          </p:nvSpPr>
          <p:spPr bwMode="auto">
            <a:xfrm>
              <a:off x="5230813" y="1584325"/>
              <a:ext cx="101600" cy="117475"/>
            </a:xfrm>
            <a:custGeom>
              <a:avLst/>
              <a:gdLst>
                <a:gd name="T0" fmla="*/ 22 w 39"/>
                <a:gd name="T1" fmla="*/ 1 h 45"/>
                <a:gd name="T2" fmla="*/ 26 w 39"/>
                <a:gd name="T3" fmla="*/ 7 h 45"/>
                <a:gd name="T4" fmla="*/ 27 w 39"/>
                <a:gd name="T5" fmla="*/ 7 h 45"/>
                <a:gd name="T6" fmla="*/ 37 w 39"/>
                <a:gd name="T7" fmla="*/ 3 h 45"/>
                <a:gd name="T8" fmla="*/ 38 w 39"/>
                <a:gd name="T9" fmla="*/ 7 h 45"/>
                <a:gd name="T10" fmla="*/ 31 w 39"/>
                <a:gd name="T11" fmla="*/ 17 h 45"/>
                <a:gd name="T12" fmla="*/ 31 w 39"/>
                <a:gd name="T13" fmla="*/ 19 h 45"/>
                <a:gd name="T14" fmla="*/ 32 w 39"/>
                <a:gd name="T15" fmla="*/ 28 h 45"/>
                <a:gd name="T16" fmla="*/ 29 w 39"/>
                <a:gd name="T17" fmla="*/ 32 h 45"/>
                <a:gd name="T18" fmla="*/ 21 w 39"/>
                <a:gd name="T19" fmla="*/ 32 h 45"/>
                <a:gd name="T20" fmla="*/ 18 w 39"/>
                <a:gd name="T21" fmla="*/ 34 h 45"/>
                <a:gd name="T22" fmla="*/ 10 w 39"/>
                <a:gd name="T23" fmla="*/ 43 h 45"/>
                <a:gd name="T24" fmla="*/ 7 w 39"/>
                <a:gd name="T25" fmla="*/ 42 h 45"/>
                <a:gd name="T26" fmla="*/ 8 w 39"/>
                <a:gd name="T27" fmla="*/ 32 h 45"/>
                <a:gd name="T28" fmla="*/ 8 w 39"/>
                <a:gd name="T29" fmla="*/ 30 h 45"/>
                <a:gd name="T30" fmla="*/ 1 w 39"/>
                <a:gd name="T31" fmla="*/ 28 h 45"/>
                <a:gd name="T32" fmla="*/ 2 w 39"/>
                <a:gd name="T33" fmla="*/ 23 h 45"/>
                <a:gd name="T34" fmla="*/ 12 w 39"/>
                <a:gd name="T35" fmla="*/ 16 h 45"/>
                <a:gd name="T36" fmla="*/ 13 w 39"/>
                <a:gd name="T37" fmla="*/ 14 h 45"/>
                <a:gd name="T38" fmla="*/ 17 w 39"/>
                <a:gd name="T39" fmla="*/ 3 h 45"/>
                <a:gd name="T40" fmla="*/ 22 w 39"/>
                <a:gd name="T41" fmla="*/ 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45">
                  <a:moveTo>
                    <a:pt x="22" y="1"/>
                  </a:move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7" y="8"/>
                    <a:pt x="27" y="7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2"/>
                    <a:pt x="39" y="4"/>
                    <a:pt x="38" y="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8"/>
                    <a:pt x="30" y="19"/>
                    <a:pt x="31" y="19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29"/>
                    <a:pt x="30" y="32"/>
                    <a:pt x="29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0" y="32"/>
                    <a:pt x="19" y="33"/>
                    <a:pt x="18" y="34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8" y="45"/>
                    <a:pt x="6" y="44"/>
                    <a:pt x="7" y="4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9" y="31"/>
                    <a:pt x="8" y="31"/>
                    <a:pt x="8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4"/>
                    <a:pt x="2" y="23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3" y="15"/>
                    <a:pt x="13" y="1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1"/>
                    <a:pt x="21" y="0"/>
                    <a:pt x="22" y="1"/>
                  </a:cubicBezTo>
                </a:path>
              </a:pathLst>
            </a:custGeom>
            <a:solidFill>
              <a:srgbClr val="724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5" name="任意多边形 414">
              <a:extLst>
                <a:ext uri="{FF2B5EF4-FFF2-40B4-BE49-F238E27FC236}">
                  <a16:creationId xmlns:a16="http://schemas.microsoft.com/office/drawing/2014/main" id="{8DAC7904-9113-47A2-B485-78FD772D0F0A}"/>
                </a:ext>
              </a:extLst>
            </p:cNvPr>
            <p:cNvSpPr/>
            <p:nvPr/>
          </p:nvSpPr>
          <p:spPr bwMode="auto">
            <a:xfrm>
              <a:off x="5335588" y="1782763"/>
              <a:ext cx="185738" cy="292100"/>
            </a:xfrm>
            <a:custGeom>
              <a:avLst/>
              <a:gdLst>
                <a:gd name="T0" fmla="*/ 65 w 71"/>
                <a:gd name="T1" fmla="*/ 102 h 112"/>
                <a:gd name="T2" fmla="*/ 58 w 71"/>
                <a:gd name="T3" fmla="*/ 106 h 112"/>
                <a:gd name="T4" fmla="*/ 48 w 71"/>
                <a:gd name="T5" fmla="*/ 112 h 112"/>
                <a:gd name="T6" fmla="*/ 51 w 71"/>
                <a:gd name="T7" fmla="*/ 107 h 112"/>
                <a:gd name="T8" fmla="*/ 48 w 71"/>
                <a:gd name="T9" fmla="*/ 94 h 112"/>
                <a:gd name="T10" fmla="*/ 0 w 71"/>
                <a:gd name="T11" fmla="*/ 10 h 112"/>
                <a:gd name="T12" fmla="*/ 19 w 71"/>
                <a:gd name="T13" fmla="*/ 0 h 112"/>
                <a:gd name="T14" fmla="*/ 67 w 71"/>
                <a:gd name="T15" fmla="*/ 83 h 112"/>
                <a:gd name="T16" fmla="*/ 70 w 71"/>
                <a:gd name="T17" fmla="*/ 96 h 112"/>
                <a:gd name="T18" fmla="*/ 67 w 71"/>
                <a:gd name="T19" fmla="*/ 101 h 112"/>
                <a:gd name="T20" fmla="*/ 65 w 71"/>
                <a:gd name="T21" fmla="*/ 10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12">
                  <a:moveTo>
                    <a:pt x="65" y="102"/>
                  </a:moveTo>
                  <a:cubicBezTo>
                    <a:pt x="58" y="106"/>
                    <a:pt x="58" y="106"/>
                    <a:pt x="58" y="106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50" y="111"/>
                    <a:pt x="51" y="109"/>
                    <a:pt x="51" y="107"/>
                  </a:cubicBezTo>
                  <a:cubicBezTo>
                    <a:pt x="52" y="103"/>
                    <a:pt x="51" y="98"/>
                    <a:pt x="48" y="9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7" y="83"/>
                    <a:pt x="67" y="83"/>
                    <a:pt x="67" y="83"/>
                  </a:cubicBezTo>
                  <a:cubicBezTo>
                    <a:pt x="69" y="87"/>
                    <a:pt x="71" y="92"/>
                    <a:pt x="70" y="96"/>
                  </a:cubicBezTo>
                  <a:cubicBezTo>
                    <a:pt x="69" y="99"/>
                    <a:pt x="68" y="100"/>
                    <a:pt x="67" y="101"/>
                  </a:cubicBezTo>
                  <a:cubicBezTo>
                    <a:pt x="65" y="102"/>
                    <a:pt x="65" y="102"/>
                    <a:pt x="65" y="102"/>
                  </a:cubicBezTo>
                  <a:close/>
                </a:path>
              </a:pathLst>
            </a:custGeom>
            <a:solidFill>
              <a:srgbClr val="D244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6" name="任意多边形 415">
              <a:extLst>
                <a:ext uri="{FF2B5EF4-FFF2-40B4-BE49-F238E27FC236}">
                  <a16:creationId xmlns:a16="http://schemas.microsoft.com/office/drawing/2014/main" id="{7423DE38-E852-4D32-8A3C-7E8D9CFE9833}"/>
                </a:ext>
              </a:extLst>
            </p:cNvPr>
            <p:cNvSpPr/>
            <p:nvPr/>
          </p:nvSpPr>
          <p:spPr bwMode="auto">
            <a:xfrm>
              <a:off x="5078413" y="1476375"/>
              <a:ext cx="393700" cy="603250"/>
            </a:xfrm>
            <a:custGeom>
              <a:avLst/>
              <a:gdLst>
                <a:gd name="T0" fmla="*/ 147 w 151"/>
                <a:gd name="T1" fmla="*/ 211 h 231"/>
                <a:gd name="T2" fmla="*/ 99 w 151"/>
                <a:gd name="T3" fmla="*/ 127 h 231"/>
                <a:gd name="T4" fmla="*/ 107 w 151"/>
                <a:gd name="T5" fmla="*/ 103 h 231"/>
                <a:gd name="T6" fmla="*/ 99 w 151"/>
                <a:gd name="T7" fmla="*/ 63 h 231"/>
                <a:gd name="T8" fmla="*/ 76 w 151"/>
                <a:gd name="T9" fmla="*/ 26 h 231"/>
                <a:gd name="T10" fmla="*/ 42 w 151"/>
                <a:gd name="T11" fmla="*/ 3 h 231"/>
                <a:gd name="T12" fmla="*/ 17 w 151"/>
                <a:gd name="T13" fmla="*/ 5 h 231"/>
                <a:gd name="T14" fmla="*/ 3 w 151"/>
                <a:gd name="T15" fmla="*/ 26 h 231"/>
                <a:gd name="T16" fmla="*/ 6 w 151"/>
                <a:gd name="T17" fmla="*/ 66 h 231"/>
                <a:gd name="T18" fmla="*/ 27 w 151"/>
                <a:gd name="T19" fmla="*/ 105 h 231"/>
                <a:gd name="T20" fmla="*/ 57 w 151"/>
                <a:gd name="T21" fmla="*/ 132 h 231"/>
                <a:gd name="T22" fmla="*/ 82 w 151"/>
                <a:gd name="T23" fmla="*/ 137 h 231"/>
                <a:gd name="T24" fmla="*/ 130 w 151"/>
                <a:gd name="T25" fmla="*/ 221 h 231"/>
                <a:gd name="T26" fmla="*/ 137 w 151"/>
                <a:gd name="T27" fmla="*/ 228 h 231"/>
                <a:gd name="T28" fmla="*/ 146 w 151"/>
                <a:gd name="T29" fmla="*/ 230 h 231"/>
                <a:gd name="T30" fmla="*/ 147 w 151"/>
                <a:gd name="T31" fmla="*/ 229 h 231"/>
                <a:gd name="T32" fmla="*/ 150 w 151"/>
                <a:gd name="T33" fmla="*/ 224 h 231"/>
                <a:gd name="T34" fmla="*/ 147 w 151"/>
                <a:gd name="T35" fmla="*/ 211 h 231"/>
                <a:gd name="T36" fmla="*/ 88 w 151"/>
                <a:gd name="T37" fmla="*/ 106 h 231"/>
                <a:gd name="T38" fmla="*/ 86 w 151"/>
                <a:gd name="T39" fmla="*/ 109 h 231"/>
                <a:gd name="T40" fmla="*/ 72 w 151"/>
                <a:gd name="T41" fmla="*/ 117 h 231"/>
                <a:gd name="T42" fmla="*/ 50 w 151"/>
                <a:gd name="T43" fmla="*/ 109 h 231"/>
                <a:gd name="T44" fmla="*/ 18 w 151"/>
                <a:gd name="T45" fmla="*/ 54 h 231"/>
                <a:gd name="T46" fmla="*/ 23 w 151"/>
                <a:gd name="T47" fmla="*/ 30 h 231"/>
                <a:gd name="T48" fmla="*/ 36 w 151"/>
                <a:gd name="T49" fmla="*/ 22 h 231"/>
                <a:gd name="T50" fmla="*/ 39 w 151"/>
                <a:gd name="T51" fmla="*/ 22 h 231"/>
                <a:gd name="T52" fmla="*/ 59 w 151"/>
                <a:gd name="T53" fmla="*/ 30 h 231"/>
                <a:gd name="T54" fmla="*/ 91 w 151"/>
                <a:gd name="T55" fmla="*/ 85 h 231"/>
                <a:gd name="T56" fmla="*/ 88 w 151"/>
                <a:gd name="T57" fmla="*/ 10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1" h="231">
                  <a:moveTo>
                    <a:pt x="147" y="211"/>
                  </a:moveTo>
                  <a:cubicBezTo>
                    <a:pt x="99" y="127"/>
                    <a:pt x="99" y="127"/>
                    <a:pt x="99" y="127"/>
                  </a:cubicBezTo>
                  <a:cubicBezTo>
                    <a:pt x="104" y="121"/>
                    <a:pt x="107" y="112"/>
                    <a:pt x="107" y="103"/>
                  </a:cubicBezTo>
                  <a:cubicBezTo>
                    <a:pt x="108" y="90"/>
                    <a:pt x="104" y="76"/>
                    <a:pt x="99" y="63"/>
                  </a:cubicBezTo>
                  <a:cubicBezTo>
                    <a:pt x="94" y="50"/>
                    <a:pt x="86" y="37"/>
                    <a:pt x="76" y="26"/>
                  </a:cubicBezTo>
                  <a:cubicBezTo>
                    <a:pt x="66" y="16"/>
                    <a:pt x="55" y="7"/>
                    <a:pt x="42" y="3"/>
                  </a:cubicBezTo>
                  <a:cubicBezTo>
                    <a:pt x="33" y="0"/>
                    <a:pt x="24" y="1"/>
                    <a:pt x="17" y="5"/>
                  </a:cubicBezTo>
                  <a:cubicBezTo>
                    <a:pt x="10" y="9"/>
                    <a:pt x="5" y="16"/>
                    <a:pt x="3" y="26"/>
                  </a:cubicBezTo>
                  <a:cubicBezTo>
                    <a:pt x="0" y="39"/>
                    <a:pt x="2" y="53"/>
                    <a:pt x="6" y="66"/>
                  </a:cubicBezTo>
                  <a:cubicBezTo>
                    <a:pt x="10" y="80"/>
                    <a:pt x="18" y="94"/>
                    <a:pt x="27" y="105"/>
                  </a:cubicBezTo>
                  <a:cubicBezTo>
                    <a:pt x="35" y="116"/>
                    <a:pt x="45" y="126"/>
                    <a:pt x="57" y="132"/>
                  </a:cubicBezTo>
                  <a:cubicBezTo>
                    <a:pt x="65" y="136"/>
                    <a:pt x="74" y="138"/>
                    <a:pt x="82" y="137"/>
                  </a:cubicBezTo>
                  <a:cubicBezTo>
                    <a:pt x="130" y="221"/>
                    <a:pt x="130" y="221"/>
                    <a:pt x="130" y="221"/>
                  </a:cubicBezTo>
                  <a:cubicBezTo>
                    <a:pt x="132" y="224"/>
                    <a:pt x="134" y="226"/>
                    <a:pt x="137" y="228"/>
                  </a:cubicBezTo>
                  <a:cubicBezTo>
                    <a:pt x="139" y="230"/>
                    <a:pt x="143" y="231"/>
                    <a:pt x="146" y="230"/>
                  </a:cubicBezTo>
                  <a:cubicBezTo>
                    <a:pt x="147" y="229"/>
                    <a:pt x="147" y="229"/>
                    <a:pt x="147" y="229"/>
                  </a:cubicBezTo>
                  <a:cubicBezTo>
                    <a:pt x="149" y="228"/>
                    <a:pt x="150" y="226"/>
                    <a:pt x="150" y="224"/>
                  </a:cubicBezTo>
                  <a:cubicBezTo>
                    <a:pt x="151" y="220"/>
                    <a:pt x="150" y="215"/>
                    <a:pt x="147" y="211"/>
                  </a:cubicBezTo>
                  <a:moveTo>
                    <a:pt x="88" y="106"/>
                  </a:moveTo>
                  <a:cubicBezTo>
                    <a:pt x="87" y="107"/>
                    <a:pt x="87" y="108"/>
                    <a:pt x="86" y="109"/>
                  </a:cubicBezTo>
                  <a:cubicBezTo>
                    <a:pt x="83" y="113"/>
                    <a:pt x="78" y="116"/>
                    <a:pt x="72" y="117"/>
                  </a:cubicBezTo>
                  <a:cubicBezTo>
                    <a:pt x="65" y="117"/>
                    <a:pt x="56" y="113"/>
                    <a:pt x="50" y="109"/>
                  </a:cubicBezTo>
                  <a:cubicBezTo>
                    <a:pt x="33" y="97"/>
                    <a:pt x="20" y="74"/>
                    <a:pt x="18" y="54"/>
                  </a:cubicBezTo>
                  <a:cubicBezTo>
                    <a:pt x="17" y="46"/>
                    <a:pt x="18" y="37"/>
                    <a:pt x="23" y="30"/>
                  </a:cubicBezTo>
                  <a:cubicBezTo>
                    <a:pt x="26" y="26"/>
                    <a:pt x="31" y="23"/>
                    <a:pt x="36" y="22"/>
                  </a:cubicBezTo>
                  <a:cubicBezTo>
                    <a:pt x="37" y="22"/>
                    <a:pt x="38" y="22"/>
                    <a:pt x="39" y="22"/>
                  </a:cubicBezTo>
                  <a:cubicBezTo>
                    <a:pt x="46" y="23"/>
                    <a:pt x="53" y="26"/>
                    <a:pt x="59" y="30"/>
                  </a:cubicBezTo>
                  <a:cubicBezTo>
                    <a:pt x="75" y="42"/>
                    <a:pt x="89" y="65"/>
                    <a:pt x="91" y="85"/>
                  </a:cubicBezTo>
                  <a:cubicBezTo>
                    <a:pt x="91" y="92"/>
                    <a:pt x="91" y="100"/>
                    <a:pt x="88" y="106"/>
                  </a:cubicBezTo>
                </a:path>
              </a:pathLst>
            </a:custGeom>
            <a:solidFill>
              <a:srgbClr val="E172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7" name="任意多边形 416">
              <a:extLst>
                <a:ext uri="{FF2B5EF4-FFF2-40B4-BE49-F238E27FC236}">
                  <a16:creationId xmlns:a16="http://schemas.microsoft.com/office/drawing/2014/main" id="{52A71D54-EDEF-4A11-865E-53208BEE44AF}"/>
                </a:ext>
              </a:extLst>
            </p:cNvPr>
            <p:cNvSpPr/>
            <p:nvPr/>
          </p:nvSpPr>
          <p:spPr bwMode="auto">
            <a:xfrm>
              <a:off x="5121276" y="1450975"/>
              <a:ext cx="284163" cy="357187"/>
            </a:xfrm>
            <a:custGeom>
              <a:avLst/>
              <a:gdLst>
                <a:gd name="T0" fmla="*/ 18 w 109"/>
                <a:gd name="T1" fmla="*/ 4 h 137"/>
                <a:gd name="T2" fmla="*/ 18 w 109"/>
                <a:gd name="T3" fmla="*/ 4 h 137"/>
                <a:gd name="T4" fmla="*/ 43 w 109"/>
                <a:gd name="T5" fmla="*/ 2 h 137"/>
                <a:gd name="T6" fmla="*/ 76 w 109"/>
                <a:gd name="T7" fmla="*/ 25 h 137"/>
                <a:gd name="T8" fmla="*/ 100 w 109"/>
                <a:gd name="T9" fmla="*/ 62 h 137"/>
                <a:gd name="T10" fmla="*/ 108 w 109"/>
                <a:gd name="T11" fmla="*/ 102 h 137"/>
                <a:gd name="T12" fmla="*/ 101 w 109"/>
                <a:gd name="T13" fmla="*/ 127 h 137"/>
                <a:gd name="T14" fmla="*/ 82 w 109"/>
                <a:gd name="T15" fmla="*/ 137 h 137"/>
                <a:gd name="T16" fmla="*/ 90 w 109"/>
                <a:gd name="T17" fmla="*/ 113 h 137"/>
                <a:gd name="T18" fmla="*/ 82 w 109"/>
                <a:gd name="T19" fmla="*/ 73 h 137"/>
                <a:gd name="T20" fmla="*/ 59 w 109"/>
                <a:gd name="T21" fmla="*/ 36 h 137"/>
                <a:gd name="T22" fmla="*/ 25 w 109"/>
                <a:gd name="T23" fmla="*/ 13 h 137"/>
                <a:gd name="T24" fmla="*/ 0 w 109"/>
                <a:gd name="T25" fmla="*/ 15 h 137"/>
                <a:gd name="T26" fmla="*/ 0 w 109"/>
                <a:gd name="T27" fmla="*/ 15 h 137"/>
                <a:gd name="T28" fmla="*/ 18 w 109"/>
                <a:gd name="T29" fmla="*/ 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137">
                  <a:moveTo>
                    <a:pt x="18" y="4"/>
                  </a:moveTo>
                  <a:cubicBezTo>
                    <a:pt x="18" y="4"/>
                    <a:pt x="18" y="4"/>
                    <a:pt x="18" y="4"/>
                  </a:cubicBezTo>
                  <a:cubicBezTo>
                    <a:pt x="25" y="1"/>
                    <a:pt x="33" y="0"/>
                    <a:pt x="43" y="2"/>
                  </a:cubicBezTo>
                  <a:cubicBezTo>
                    <a:pt x="56" y="6"/>
                    <a:pt x="67" y="15"/>
                    <a:pt x="76" y="25"/>
                  </a:cubicBezTo>
                  <a:cubicBezTo>
                    <a:pt x="87" y="36"/>
                    <a:pt x="95" y="49"/>
                    <a:pt x="100" y="62"/>
                  </a:cubicBezTo>
                  <a:cubicBezTo>
                    <a:pt x="106" y="75"/>
                    <a:pt x="109" y="89"/>
                    <a:pt x="108" y="102"/>
                  </a:cubicBezTo>
                  <a:cubicBezTo>
                    <a:pt x="108" y="111"/>
                    <a:pt x="106" y="120"/>
                    <a:pt x="101" y="127"/>
                  </a:cubicBezTo>
                  <a:cubicBezTo>
                    <a:pt x="82" y="137"/>
                    <a:pt x="82" y="137"/>
                    <a:pt x="82" y="137"/>
                  </a:cubicBezTo>
                  <a:cubicBezTo>
                    <a:pt x="87" y="131"/>
                    <a:pt x="90" y="122"/>
                    <a:pt x="90" y="113"/>
                  </a:cubicBezTo>
                  <a:cubicBezTo>
                    <a:pt x="91" y="100"/>
                    <a:pt x="87" y="86"/>
                    <a:pt x="82" y="73"/>
                  </a:cubicBezTo>
                  <a:cubicBezTo>
                    <a:pt x="77" y="60"/>
                    <a:pt x="68" y="47"/>
                    <a:pt x="59" y="36"/>
                  </a:cubicBezTo>
                  <a:cubicBezTo>
                    <a:pt x="50" y="26"/>
                    <a:pt x="38" y="17"/>
                    <a:pt x="25" y="13"/>
                  </a:cubicBezTo>
                  <a:cubicBezTo>
                    <a:pt x="16" y="10"/>
                    <a:pt x="7" y="11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6" y="11"/>
                    <a:pt x="12" y="8"/>
                    <a:pt x="18" y="4"/>
                  </a:cubicBezTo>
                  <a:close/>
                </a:path>
              </a:pathLst>
            </a:custGeom>
            <a:solidFill>
              <a:srgbClr val="D244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8" name="任意多边形 417">
              <a:extLst>
                <a:ext uri="{FF2B5EF4-FFF2-40B4-BE49-F238E27FC236}">
                  <a16:creationId xmlns:a16="http://schemas.microsoft.com/office/drawing/2014/main" id="{068969AF-550F-49AE-A211-2BCD95C80DF9}"/>
                </a:ext>
              </a:extLst>
            </p:cNvPr>
            <p:cNvSpPr/>
            <p:nvPr/>
          </p:nvSpPr>
          <p:spPr bwMode="auto">
            <a:xfrm>
              <a:off x="5121276" y="1533525"/>
              <a:ext cx="185738" cy="249237"/>
            </a:xfrm>
            <a:custGeom>
              <a:avLst/>
              <a:gdLst>
                <a:gd name="T0" fmla="*/ 71 w 71"/>
                <a:gd name="T1" fmla="*/ 84 h 95"/>
                <a:gd name="T2" fmla="*/ 69 w 71"/>
                <a:gd name="T3" fmla="*/ 87 h 95"/>
                <a:gd name="T4" fmla="*/ 55 w 71"/>
                <a:gd name="T5" fmla="*/ 95 h 95"/>
                <a:gd name="T6" fmla="*/ 33 w 71"/>
                <a:gd name="T7" fmla="*/ 87 h 95"/>
                <a:gd name="T8" fmla="*/ 1 w 71"/>
                <a:gd name="T9" fmla="*/ 32 h 95"/>
                <a:gd name="T10" fmla="*/ 6 w 71"/>
                <a:gd name="T11" fmla="*/ 8 h 95"/>
                <a:gd name="T12" fmla="*/ 19 w 71"/>
                <a:gd name="T13" fmla="*/ 0 h 95"/>
                <a:gd name="T14" fmla="*/ 22 w 71"/>
                <a:gd name="T15" fmla="*/ 0 h 95"/>
                <a:gd name="T16" fmla="*/ 19 w 71"/>
                <a:gd name="T17" fmla="*/ 16 h 95"/>
                <a:gd name="T18" fmla="*/ 44 w 71"/>
                <a:gd name="T19" fmla="*/ 70 h 95"/>
                <a:gd name="T20" fmla="*/ 58 w 71"/>
                <a:gd name="T21" fmla="*/ 80 h 95"/>
                <a:gd name="T22" fmla="*/ 71 w 71"/>
                <a:gd name="T23" fmla="*/ 8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" h="95">
                  <a:moveTo>
                    <a:pt x="71" y="84"/>
                  </a:moveTo>
                  <a:cubicBezTo>
                    <a:pt x="70" y="85"/>
                    <a:pt x="70" y="86"/>
                    <a:pt x="69" y="87"/>
                  </a:cubicBezTo>
                  <a:cubicBezTo>
                    <a:pt x="66" y="91"/>
                    <a:pt x="61" y="94"/>
                    <a:pt x="55" y="95"/>
                  </a:cubicBezTo>
                  <a:cubicBezTo>
                    <a:pt x="48" y="95"/>
                    <a:pt x="39" y="91"/>
                    <a:pt x="33" y="87"/>
                  </a:cubicBezTo>
                  <a:cubicBezTo>
                    <a:pt x="16" y="75"/>
                    <a:pt x="3" y="52"/>
                    <a:pt x="1" y="32"/>
                  </a:cubicBezTo>
                  <a:cubicBezTo>
                    <a:pt x="0" y="24"/>
                    <a:pt x="1" y="15"/>
                    <a:pt x="6" y="8"/>
                  </a:cubicBezTo>
                  <a:cubicBezTo>
                    <a:pt x="9" y="4"/>
                    <a:pt x="14" y="1"/>
                    <a:pt x="19" y="0"/>
                  </a:cubicBezTo>
                  <a:cubicBezTo>
                    <a:pt x="20" y="0"/>
                    <a:pt x="21" y="0"/>
                    <a:pt x="22" y="0"/>
                  </a:cubicBezTo>
                  <a:cubicBezTo>
                    <a:pt x="20" y="5"/>
                    <a:pt x="19" y="10"/>
                    <a:pt x="19" y="16"/>
                  </a:cubicBezTo>
                  <a:cubicBezTo>
                    <a:pt x="19" y="33"/>
                    <a:pt x="28" y="55"/>
                    <a:pt x="44" y="70"/>
                  </a:cubicBezTo>
                  <a:cubicBezTo>
                    <a:pt x="48" y="74"/>
                    <a:pt x="52" y="78"/>
                    <a:pt x="58" y="80"/>
                  </a:cubicBezTo>
                  <a:cubicBezTo>
                    <a:pt x="62" y="82"/>
                    <a:pt x="66" y="84"/>
                    <a:pt x="71" y="84"/>
                  </a:cubicBezTo>
                </a:path>
              </a:pathLst>
            </a:custGeom>
            <a:solidFill>
              <a:srgbClr val="D244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9" name="任意多边形 418">
              <a:extLst>
                <a:ext uri="{FF2B5EF4-FFF2-40B4-BE49-F238E27FC236}">
                  <a16:creationId xmlns:a16="http://schemas.microsoft.com/office/drawing/2014/main" id="{CB2E720D-DE3E-4EF6-9177-C259C956A4A6}"/>
                </a:ext>
              </a:extLst>
            </p:cNvPr>
            <p:cNvSpPr/>
            <p:nvPr/>
          </p:nvSpPr>
          <p:spPr bwMode="auto">
            <a:xfrm>
              <a:off x="5172076" y="1533525"/>
              <a:ext cx="142875" cy="219075"/>
            </a:xfrm>
            <a:custGeom>
              <a:avLst/>
              <a:gdLst>
                <a:gd name="T0" fmla="*/ 3 w 55"/>
                <a:gd name="T1" fmla="*/ 0 h 84"/>
                <a:gd name="T2" fmla="*/ 0 w 55"/>
                <a:gd name="T3" fmla="*/ 16 h 84"/>
                <a:gd name="T4" fmla="*/ 25 w 55"/>
                <a:gd name="T5" fmla="*/ 70 h 84"/>
                <a:gd name="T6" fmla="*/ 39 w 55"/>
                <a:gd name="T7" fmla="*/ 80 h 84"/>
                <a:gd name="T8" fmla="*/ 52 w 55"/>
                <a:gd name="T9" fmla="*/ 84 h 84"/>
                <a:gd name="T10" fmla="*/ 55 w 55"/>
                <a:gd name="T11" fmla="*/ 69 h 84"/>
                <a:gd name="T12" fmla="*/ 55 w 55"/>
                <a:gd name="T13" fmla="*/ 63 h 84"/>
                <a:gd name="T14" fmla="*/ 52 w 55"/>
                <a:gd name="T15" fmla="*/ 51 h 84"/>
                <a:gd name="T16" fmla="*/ 52 w 55"/>
                <a:gd name="T17" fmla="*/ 51 h 84"/>
                <a:gd name="T18" fmla="*/ 44 w 55"/>
                <a:gd name="T19" fmla="*/ 51 h 84"/>
                <a:gd name="T20" fmla="*/ 41 w 55"/>
                <a:gd name="T21" fmla="*/ 53 h 84"/>
                <a:gd name="T22" fmla="*/ 33 w 55"/>
                <a:gd name="T23" fmla="*/ 62 h 84"/>
                <a:gd name="T24" fmla="*/ 31 w 55"/>
                <a:gd name="T25" fmla="*/ 63 h 84"/>
                <a:gd name="T26" fmla="*/ 30 w 55"/>
                <a:gd name="T27" fmla="*/ 61 h 84"/>
                <a:gd name="T28" fmla="*/ 31 w 55"/>
                <a:gd name="T29" fmla="*/ 51 h 84"/>
                <a:gd name="T30" fmla="*/ 31 w 55"/>
                <a:gd name="T31" fmla="*/ 49 h 84"/>
                <a:gd name="T32" fmla="*/ 24 w 55"/>
                <a:gd name="T33" fmla="*/ 47 h 84"/>
                <a:gd name="T34" fmla="*/ 25 w 55"/>
                <a:gd name="T35" fmla="*/ 42 h 84"/>
                <a:gd name="T36" fmla="*/ 35 w 55"/>
                <a:gd name="T37" fmla="*/ 35 h 84"/>
                <a:gd name="T38" fmla="*/ 36 w 55"/>
                <a:gd name="T39" fmla="*/ 33 h 84"/>
                <a:gd name="T40" fmla="*/ 39 w 55"/>
                <a:gd name="T41" fmla="*/ 25 h 84"/>
                <a:gd name="T42" fmla="*/ 23 w 55"/>
                <a:gd name="T43" fmla="*/ 8 h 84"/>
                <a:gd name="T44" fmla="*/ 3 w 55"/>
                <a:gd name="T45" fmla="*/ 0 h 84"/>
                <a:gd name="T46" fmla="*/ 3 w 55"/>
                <a:gd name="T4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5" h="84">
                  <a:moveTo>
                    <a:pt x="3" y="0"/>
                  </a:moveTo>
                  <a:cubicBezTo>
                    <a:pt x="1" y="5"/>
                    <a:pt x="0" y="10"/>
                    <a:pt x="0" y="16"/>
                  </a:cubicBezTo>
                  <a:cubicBezTo>
                    <a:pt x="0" y="33"/>
                    <a:pt x="9" y="55"/>
                    <a:pt x="25" y="70"/>
                  </a:cubicBezTo>
                  <a:cubicBezTo>
                    <a:pt x="29" y="74"/>
                    <a:pt x="33" y="78"/>
                    <a:pt x="39" y="80"/>
                  </a:cubicBezTo>
                  <a:cubicBezTo>
                    <a:pt x="43" y="82"/>
                    <a:pt x="47" y="84"/>
                    <a:pt x="52" y="84"/>
                  </a:cubicBezTo>
                  <a:cubicBezTo>
                    <a:pt x="54" y="79"/>
                    <a:pt x="55" y="74"/>
                    <a:pt x="55" y="69"/>
                  </a:cubicBezTo>
                  <a:cubicBezTo>
                    <a:pt x="55" y="67"/>
                    <a:pt x="55" y="65"/>
                    <a:pt x="55" y="63"/>
                  </a:cubicBezTo>
                  <a:cubicBezTo>
                    <a:pt x="54" y="59"/>
                    <a:pt x="53" y="55"/>
                    <a:pt x="52" y="51"/>
                  </a:cubicBezTo>
                  <a:cubicBezTo>
                    <a:pt x="52" y="51"/>
                    <a:pt x="52" y="51"/>
                    <a:pt x="52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3" y="51"/>
                    <a:pt x="42" y="52"/>
                    <a:pt x="41" y="53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2" y="63"/>
                    <a:pt x="32" y="63"/>
                    <a:pt x="31" y="63"/>
                  </a:cubicBezTo>
                  <a:cubicBezTo>
                    <a:pt x="30" y="63"/>
                    <a:pt x="30" y="62"/>
                    <a:pt x="30" y="6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2" y="50"/>
                    <a:pt x="31" y="50"/>
                    <a:pt x="31" y="49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3" y="46"/>
                    <a:pt x="23" y="43"/>
                    <a:pt x="25" y="42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35"/>
                    <a:pt x="36" y="34"/>
                    <a:pt x="36" y="33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5" y="19"/>
                    <a:pt x="29" y="13"/>
                    <a:pt x="23" y="8"/>
                  </a:cubicBezTo>
                  <a:cubicBezTo>
                    <a:pt x="17" y="4"/>
                    <a:pt x="10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CEE8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0" name="任意多边形 419">
              <a:extLst>
                <a:ext uri="{FF2B5EF4-FFF2-40B4-BE49-F238E27FC236}">
                  <a16:creationId xmlns:a16="http://schemas.microsoft.com/office/drawing/2014/main" id="{7807B265-512B-40E0-93CD-C1E33D273DA6}"/>
                </a:ext>
              </a:extLst>
            </p:cNvPr>
            <p:cNvSpPr/>
            <p:nvPr/>
          </p:nvSpPr>
          <p:spPr bwMode="auto">
            <a:xfrm>
              <a:off x="5230813" y="1600200"/>
              <a:ext cx="76200" cy="98425"/>
            </a:xfrm>
            <a:custGeom>
              <a:avLst/>
              <a:gdLst>
                <a:gd name="T0" fmla="*/ 16 w 29"/>
                <a:gd name="T1" fmla="*/ 0 h 38"/>
                <a:gd name="T2" fmla="*/ 13 w 29"/>
                <a:gd name="T3" fmla="*/ 8 h 38"/>
                <a:gd name="T4" fmla="*/ 12 w 29"/>
                <a:gd name="T5" fmla="*/ 10 h 38"/>
                <a:gd name="T6" fmla="*/ 2 w 29"/>
                <a:gd name="T7" fmla="*/ 17 h 38"/>
                <a:gd name="T8" fmla="*/ 1 w 29"/>
                <a:gd name="T9" fmla="*/ 22 h 38"/>
                <a:gd name="T10" fmla="*/ 8 w 29"/>
                <a:gd name="T11" fmla="*/ 24 h 38"/>
                <a:gd name="T12" fmla="*/ 8 w 29"/>
                <a:gd name="T13" fmla="*/ 26 h 38"/>
                <a:gd name="T14" fmla="*/ 7 w 29"/>
                <a:gd name="T15" fmla="*/ 36 h 38"/>
                <a:gd name="T16" fmla="*/ 8 w 29"/>
                <a:gd name="T17" fmla="*/ 38 h 38"/>
                <a:gd name="T18" fmla="*/ 10 w 29"/>
                <a:gd name="T19" fmla="*/ 37 h 38"/>
                <a:gd name="T20" fmla="*/ 18 w 29"/>
                <a:gd name="T21" fmla="*/ 28 h 38"/>
                <a:gd name="T22" fmla="*/ 21 w 29"/>
                <a:gd name="T23" fmla="*/ 26 h 38"/>
                <a:gd name="T24" fmla="*/ 29 w 29"/>
                <a:gd name="T25" fmla="*/ 26 h 38"/>
                <a:gd name="T26" fmla="*/ 29 w 29"/>
                <a:gd name="T27" fmla="*/ 26 h 38"/>
                <a:gd name="T28" fmla="*/ 16 w 29"/>
                <a:gd name="T2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38">
                  <a:moveTo>
                    <a:pt x="16" y="0"/>
                  </a:moveTo>
                  <a:cubicBezTo>
                    <a:pt x="13" y="8"/>
                    <a:pt x="13" y="8"/>
                    <a:pt x="13" y="8"/>
                  </a:cubicBezTo>
                  <a:cubicBezTo>
                    <a:pt x="13" y="9"/>
                    <a:pt x="12" y="10"/>
                    <a:pt x="12" y="10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18"/>
                    <a:pt x="0" y="21"/>
                    <a:pt x="1" y="2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5"/>
                    <a:pt x="9" y="25"/>
                    <a:pt x="8" y="2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8" y="38"/>
                  </a:cubicBezTo>
                  <a:cubicBezTo>
                    <a:pt x="9" y="38"/>
                    <a:pt x="9" y="38"/>
                    <a:pt x="10" y="37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7"/>
                    <a:pt x="20" y="26"/>
                    <a:pt x="21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6" y="17"/>
                    <a:pt x="22" y="8"/>
                    <a:pt x="16" y="0"/>
                  </a:cubicBezTo>
                </a:path>
              </a:pathLst>
            </a:custGeom>
            <a:solidFill>
              <a:srgbClr val="888A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1" name="任意多边形 420">
              <a:extLst>
                <a:ext uri="{FF2B5EF4-FFF2-40B4-BE49-F238E27FC236}">
                  <a16:creationId xmlns:a16="http://schemas.microsoft.com/office/drawing/2014/main" id="{2258516F-16C2-4CAA-855F-BEC169C502FD}"/>
                </a:ext>
              </a:extLst>
            </p:cNvPr>
            <p:cNvSpPr/>
            <p:nvPr/>
          </p:nvSpPr>
          <p:spPr bwMode="auto">
            <a:xfrm>
              <a:off x="5180013" y="1533525"/>
              <a:ext cx="134938" cy="180975"/>
            </a:xfrm>
            <a:custGeom>
              <a:avLst/>
              <a:gdLst>
                <a:gd name="T0" fmla="*/ 0 w 52"/>
                <a:gd name="T1" fmla="*/ 0 h 69"/>
                <a:gd name="T2" fmla="*/ 0 w 52"/>
                <a:gd name="T3" fmla="*/ 0 h 69"/>
                <a:gd name="T4" fmla="*/ 0 w 52"/>
                <a:gd name="T5" fmla="*/ 0 h 69"/>
                <a:gd name="T6" fmla="*/ 0 w 52"/>
                <a:gd name="T7" fmla="*/ 0 h 69"/>
                <a:gd name="T8" fmla="*/ 0 w 52"/>
                <a:gd name="T9" fmla="*/ 0 h 69"/>
                <a:gd name="T10" fmla="*/ 20 w 52"/>
                <a:gd name="T11" fmla="*/ 8 h 69"/>
                <a:gd name="T12" fmla="*/ 36 w 52"/>
                <a:gd name="T13" fmla="*/ 25 h 69"/>
                <a:gd name="T14" fmla="*/ 49 w 52"/>
                <a:gd name="T15" fmla="*/ 51 h 69"/>
                <a:gd name="T16" fmla="*/ 52 w 52"/>
                <a:gd name="T17" fmla="*/ 63 h 69"/>
                <a:gd name="T18" fmla="*/ 52 w 52"/>
                <a:gd name="T19" fmla="*/ 69 h 69"/>
                <a:gd name="T20" fmla="*/ 52 w 52"/>
                <a:gd name="T21" fmla="*/ 63 h 69"/>
                <a:gd name="T22" fmla="*/ 20 w 52"/>
                <a:gd name="T23" fmla="*/ 8 h 69"/>
                <a:gd name="T24" fmla="*/ 0 w 52"/>
                <a:gd name="T2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6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1"/>
                    <a:pt x="14" y="4"/>
                    <a:pt x="20" y="8"/>
                  </a:cubicBezTo>
                  <a:cubicBezTo>
                    <a:pt x="26" y="13"/>
                    <a:pt x="32" y="19"/>
                    <a:pt x="36" y="25"/>
                  </a:cubicBezTo>
                  <a:cubicBezTo>
                    <a:pt x="42" y="33"/>
                    <a:pt x="46" y="42"/>
                    <a:pt x="49" y="51"/>
                  </a:cubicBezTo>
                  <a:cubicBezTo>
                    <a:pt x="50" y="55"/>
                    <a:pt x="51" y="59"/>
                    <a:pt x="52" y="63"/>
                  </a:cubicBezTo>
                  <a:cubicBezTo>
                    <a:pt x="52" y="65"/>
                    <a:pt x="52" y="67"/>
                    <a:pt x="52" y="69"/>
                  </a:cubicBezTo>
                  <a:cubicBezTo>
                    <a:pt x="52" y="67"/>
                    <a:pt x="52" y="65"/>
                    <a:pt x="52" y="63"/>
                  </a:cubicBezTo>
                  <a:cubicBezTo>
                    <a:pt x="50" y="43"/>
                    <a:pt x="36" y="20"/>
                    <a:pt x="20" y="8"/>
                  </a:cubicBezTo>
                  <a:cubicBezTo>
                    <a:pt x="14" y="4"/>
                    <a:pt x="7" y="1"/>
                    <a:pt x="0" y="0"/>
                  </a:cubicBezTo>
                </a:path>
              </a:pathLst>
            </a:custGeom>
            <a:solidFill>
              <a:srgbClr val="BFA2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22820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22295"/>
            <a:ext cx="10498931" cy="1028699"/>
          </a:xfrm>
        </p:spPr>
        <p:txBody>
          <a:bodyPr/>
          <a:lstStyle/>
          <a:p>
            <a:r>
              <a:rPr lang="zh-CN" altLang="en-US" dirty="0"/>
              <a:t>文本清洗方法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763313" y="4169164"/>
            <a:ext cx="866656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3200" b="1" dirty="0" smtClean="0">
                <a:solidFill>
                  <a:srgbClr val="333333"/>
                </a:solidFill>
                <a:latin typeface="-apple-system"/>
              </a:rPr>
              <a:t>文本清洗的目的是将输入的文本变为</a:t>
            </a:r>
            <a:endParaRPr lang="en-US" altLang="zh-CN" sz="3200" b="1" dirty="0" smtClean="0">
              <a:solidFill>
                <a:srgbClr val="333333"/>
              </a:solidFill>
              <a:latin typeface="-apple-system"/>
            </a:endParaRPr>
          </a:p>
          <a:p>
            <a:pPr algn="ctr"/>
            <a:r>
              <a:rPr lang="zh-CN" altLang="en-US" sz="3200" b="1" dirty="0" smtClean="0">
                <a:solidFill>
                  <a:srgbClr val="333333"/>
                </a:solidFill>
                <a:latin typeface="-apple-system"/>
              </a:rPr>
              <a:t>已有系统「喜欢且接受」的形式。</a:t>
            </a:r>
            <a:endParaRPr lang="zh-CN" altLang="en-US" sz="3200" b="1" dirty="0">
              <a:solidFill>
                <a:srgbClr val="333333"/>
              </a:solidFill>
              <a:latin typeface="-apple-system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69924" y="1356151"/>
            <a:ext cx="8255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zh-CN" altLang="en-US" b="1" dirty="0">
                <a:solidFill>
                  <a:srgbClr val="333333"/>
                </a:solidFill>
                <a:latin typeface="-apple-system"/>
              </a:rPr>
              <a:t>纠错：</a:t>
            </a:r>
            <a:r>
              <a:rPr lang="zh-CN" altLang="en-US" dirty="0">
                <a:solidFill>
                  <a:srgbClr val="333333"/>
                </a:solidFill>
                <a:latin typeface="-apple-system"/>
              </a:rPr>
              <a:t>识别文本中的错误，包括拼写错误、词法错误、句法错误、语义错误等。</a:t>
            </a:r>
            <a:endParaRPr lang="zh-CN" altLang="en-US" dirty="0">
              <a:solidFill>
                <a:srgbClr val="333333"/>
              </a:solidFill>
              <a:latin typeface="-apple-system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69923" y="1871415"/>
            <a:ext cx="79311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zh-CN" altLang="en-US" b="1" dirty="0">
                <a:solidFill>
                  <a:srgbClr val="333333"/>
                </a:solidFill>
                <a:latin typeface="-apple-system"/>
              </a:rPr>
              <a:t>改写：</a:t>
            </a:r>
            <a:r>
              <a:rPr lang="zh-CN" altLang="en-US" dirty="0">
                <a:solidFill>
                  <a:srgbClr val="333333"/>
                </a:solidFill>
                <a:latin typeface="-apple-system"/>
              </a:rPr>
              <a:t>包括转换和扩展。转换是将输入的文本或 </a:t>
            </a:r>
            <a:r>
              <a:rPr lang="en-US" altLang="zh-CN" dirty="0">
                <a:solidFill>
                  <a:srgbClr val="333333"/>
                </a:solidFill>
                <a:latin typeface="-apple-system"/>
              </a:rPr>
              <a:t>Query </a:t>
            </a:r>
            <a:r>
              <a:rPr lang="zh-CN" altLang="en-US" dirty="0">
                <a:solidFill>
                  <a:srgbClr val="333333"/>
                </a:solidFill>
                <a:latin typeface="-apple-system"/>
              </a:rPr>
              <a:t>转换为同等语义的另一种形式，比如拼音（或简拼）转为对应的中文。扩展主要是讲和输入文本相关的内容一并作为输入。常用在搜索领域。</a:t>
            </a:r>
            <a:endParaRPr lang="zh-CN" altLang="en-US" dirty="0">
              <a:solidFill>
                <a:srgbClr val="333333"/>
              </a:solidFill>
              <a:latin typeface="-apple-system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69923" y="2940677"/>
            <a:ext cx="73501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zh-CN" altLang="en-US" b="1" dirty="0">
                <a:solidFill>
                  <a:srgbClr val="333333"/>
                </a:solidFill>
                <a:latin typeface="-apple-system"/>
              </a:rPr>
              <a:t>形式</a:t>
            </a:r>
            <a:r>
              <a:rPr lang="zh-CN" altLang="en-US" b="1" dirty="0" smtClean="0">
                <a:solidFill>
                  <a:srgbClr val="333333"/>
                </a:solidFill>
                <a:latin typeface="-apple-system"/>
              </a:rPr>
              <a:t>标准化：</a:t>
            </a:r>
            <a:r>
              <a:rPr lang="zh-CN" altLang="en-US" dirty="0" smtClean="0">
                <a:solidFill>
                  <a:srgbClr val="333333"/>
                </a:solidFill>
                <a:latin typeface="-apple-system"/>
              </a:rPr>
              <a:t>主要是将不同的「形式」统一化。比如英文大小写标准化，数字标准化，英文缩写标准化，日期格式标准化，时间格式标准化，计量单位标准化，标点符号标准化等。</a:t>
            </a:r>
            <a:endParaRPr lang="zh-CN" altLang="en-US" dirty="0">
              <a:solidFill>
                <a:srgbClr val="333333"/>
              </a:solidFill>
              <a:latin typeface="-apple-system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7072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j-ea"/>
                <a:sym typeface="+mn-lt"/>
              </a:rPr>
              <a:t>分词技术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spc="100" dirty="0" smtClean="0">
                <a:cs typeface="+mn-ea"/>
                <a:sym typeface="+mn-lt"/>
              </a:rPr>
              <a:t>Tokenizer</a:t>
            </a:r>
            <a:endParaRPr lang="en-US" altLang="zh-CN" spc="100" dirty="0">
              <a:cs typeface="+mn-ea"/>
              <a:sym typeface="+mn-lt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F381C9F4-9864-40BC-B01A-015B98442A04}"/>
              </a:ext>
            </a:extLst>
          </p:cNvPr>
          <p:cNvSpPr/>
          <p:nvPr/>
        </p:nvSpPr>
        <p:spPr>
          <a:xfrm>
            <a:off x="5291684" y="803025"/>
            <a:ext cx="1608633" cy="1608633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6600" dirty="0">
                <a:cs typeface="+mn-ea"/>
                <a:sym typeface="+mn-lt"/>
              </a:rPr>
              <a:t>肆</a:t>
            </a:r>
            <a:endParaRPr lang="zh-CN" altLang="en-US" sz="6600" dirty="0">
              <a:cs typeface="+mn-ea"/>
              <a:sym typeface="+mn-lt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5451591" y="5908377"/>
            <a:ext cx="1288818" cy="108000"/>
            <a:chOff x="5569673" y="5908377"/>
            <a:chExt cx="1288818" cy="108000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D98FD99A-EFD0-4141-B733-9E7ED74FDA18}"/>
                </a:ext>
              </a:extLst>
            </p:cNvPr>
            <p:cNvSpPr/>
            <p:nvPr/>
          </p:nvSpPr>
          <p:spPr>
            <a:xfrm>
              <a:off x="5569673" y="5908377"/>
              <a:ext cx="108000" cy="108000"/>
            </a:xfrm>
            <a:prstGeom prst="ellipse">
              <a:avLst/>
            </a:prstGeom>
            <a:solidFill>
              <a:srgbClr val="FDFDFD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3C208640-08C5-402E-ACFC-188FE0D4F27B}"/>
                </a:ext>
              </a:extLst>
            </p:cNvPr>
            <p:cNvSpPr/>
            <p:nvPr/>
          </p:nvSpPr>
          <p:spPr>
            <a:xfrm>
              <a:off x="5805836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DE2ECDD2-6209-42D7-AAF9-EDB622256F50}"/>
                </a:ext>
              </a:extLst>
            </p:cNvPr>
            <p:cNvSpPr/>
            <p:nvPr/>
          </p:nvSpPr>
          <p:spPr>
            <a:xfrm>
              <a:off x="6042000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A9CE3EBB-608E-4FBF-85EF-9B447244FA8E}"/>
                </a:ext>
              </a:extLst>
            </p:cNvPr>
            <p:cNvSpPr/>
            <p:nvPr/>
          </p:nvSpPr>
          <p:spPr>
            <a:xfrm>
              <a:off x="6278163" y="5908377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514327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750491" y="5908377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3239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zh-CN" altLang="en-US" dirty="0" smtClean="0"/>
              <a:t>分词技术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201" y="1296194"/>
            <a:ext cx="7820025" cy="45910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59487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5081820"/>
              </p:ext>
            </p:extLst>
          </p:nvPr>
        </p:nvGraphicFramePr>
        <p:xfrm>
          <a:off x="5490164" y="2444384"/>
          <a:ext cx="6448425" cy="2670810"/>
        </p:xfrm>
        <a:graphic>
          <a:graphicData uri="http://schemas.openxmlformats.org/drawingml/2006/table">
            <a:tbl>
              <a:tblPr/>
              <a:tblGrid>
                <a:gridCol w="2149475">
                  <a:extLst>
                    <a:ext uri="{9D8B030D-6E8A-4147-A177-3AD203B41FA5}">
                      <a16:colId xmlns:a16="http://schemas.microsoft.com/office/drawing/2014/main" val="3525123102"/>
                    </a:ext>
                  </a:extLst>
                </a:gridCol>
                <a:gridCol w="2149475">
                  <a:extLst>
                    <a:ext uri="{9D8B030D-6E8A-4147-A177-3AD203B41FA5}">
                      <a16:colId xmlns:a16="http://schemas.microsoft.com/office/drawing/2014/main" val="709116061"/>
                    </a:ext>
                  </a:extLst>
                </a:gridCol>
                <a:gridCol w="2149475">
                  <a:extLst>
                    <a:ext uri="{9D8B030D-6E8A-4147-A177-3AD203B41FA5}">
                      <a16:colId xmlns:a16="http://schemas.microsoft.com/office/drawing/2014/main" val="292945197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latinLnBrk="1"/>
                      <a:r>
                        <a:rPr lang="zh-CN" altLang="en-US" dirty="0">
                          <a:effectLst/>
                        </a:rPr>
                        <a:t>粒度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zh-CN" altLang="en-US">
                          <a:effectLst/>
                        </a:rPr>
                        <a:t>字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zh-CN" altLang="en-US">
                          <a:effectLst/>
                        </a:rPr>
                        <a:t>词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2556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zh-CN" altLang="en-US">
                          <a:effectLst/>
                        </a:rPr>
                        <a:t>词表大小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zh-CN" altLang="en-US">
                          <a:effectLst/>
                        </a:rPr>
                        <a:t>固定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zh-CN" altLang="en-US">
                          <a:effectLst/>
                        </a:rPr>
                        <a:t>无法穷尽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7339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zh-CN" altLang="en-US">
                          <a:effectLst/>
                        </a:rPr>
                        <a:t>未识别词（</a:t>
                      </a:r>
                      <a:r>
                        <a:rPr lang="en-US" altLang="zh-CN">
                          <a:effectLst/>
                        </a:rPr>
                        <a:t>OOV</a:t>
                      </a:r>
                      <a:r>
                        <a:rPr lang="zh-CN" altLang="en-US">
                          <a:effectLst/>
                        </a:rPr>
                        <a:t>）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zh-CN" altLang="en-US">
                          <a:effectLst/>
                        </a:rPr>
                        <a:t>没有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zh-CN" altLang="en-US" dirty="0">
                          <a:effectLst/>
                        </a:rPr>
                        <a:t>典型问题，长尾、稀疏性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6973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zh-CN" altLang="en-US">
                          <a:effectLst/>
                        </a:rPr>
                        <a:t>参数</a:t>
                      </a:r>
                      <a:r>
                        <a:rPr lang="en-US" altLang="zh-CN">
                          <a:effectLst/>
                        </a:rPr>
                        <a:t>/</a:t>
                      </a:r>
                      <a:r>
                        <a:rPr lang="zh-CN" altLang="en-US">
                          <a:effectLst/>
                        </a:rPr>
                        <a:t>计算量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zh-CN" altLang="en-US">
                          <a:effectLst/>
                        </a:rPr>
                        <a:t>多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zh-CN">
                          <a:effectLst/>
                        </a:rPr>
                        <a:t>Token </a:t>
                      </a:r>
                      <a:r>
                        <a:rPr lang="zh-CN" altLang="en-US">
                          <a:effectLst/>
                        </a:rPr>
                        <a:t>变少，参数少，计算快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72344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atinLnBrk="1"/>
                      <a:r>
                        <a:rPr lang="zh-CN" altLang="en-US" dirty="0">
                          <a:effectLst/>
                        </a:rPr>
                        <a:t>语义</a:t>
                      </a:r>
                      <a:r>
                        <a:rPr lang="en-US" altLang="zh-CN" dirty="0">
                          <a:effectLst/>
                        </a:rPr>
                        <a:t>/</a:t>
                      </a:r>
                      <a:r>
                        <a:rPr lang="zh-CN" altLang="en-US" dirty="0">
                          <a:effectLst/>
                        </a:rPr>
                        <a:t>建模复杂度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zh-CN" altLang="en-US">
                          <a:effectLst/>
                        </a:rPr>
                        <a:t>有不确定性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zh-CN" altLang="en-US" dirty="0">
                          <a:effectLst/>
                        </a:rPr>
                        <a:t>携带语义，能够降低不确定性</a:t>
                      </a:r>
                    </a:p>
                  </a:txBody>
                  <a:tcPr marL="95250" marR="95250" marT="47625" marB="47625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4006203"/>
                  </a:ext>
                </a:extLst>
              </a:tr>
            </a:tbl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zh-CN" altLang="en-US" dirty="0" smtClean="0"/>
              <a:t>分词技术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17524" y="1352550"/>
            <a:ext cx="2095510" cy="8739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/>
              <a:t>分词器：</a:t>
            </a:r>
            <a:r>
              <a:rPr lang="en-US" altLang="zh-CN" dirty="0" smtClean="0"/>
              <a:t>Tokenizer</a:t>
            </a:r>
          </a:p>
          <a:p>
            <a:pPr>
              <a:lnSpc>
                <a:spcPct val="150000"/>
              </a:lnSpc>
            </a:pPr>
            <a:r>
              <a:rPr lang="zh-CN" altLang="en-US" dirty="0" smtClean="0"/>
              <a:t>分词是有粒度的</a:t>
            </a:r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517524" y="2513523"/>
            <a:ext cx="459613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/>
              <a:t>Char Level</a:t>
            </a:r>
            <a:r>
              <a:rPr lang="zh-CN" altLang="en-US" dirty="0" smtClean="0"/>
              <a:t>：</a:t>
            </a:r>
            <a:r>
              <a:rPr lang="zh-CN" altLang="en-US" dirty="0"/>
              <a:t>英文就是字母级别</a:t>
            </a:r>
            <a:r>
              <a:rPr lang="zh-CN" altLang="en-US" dirty="0" smtClean="0"/>
              <a:t>，操作起来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dirty="0" smtClean="0"/>
              <a:t>比较简单</a:t>
            </a:r>
            <a:r>
              <a:rPr lang="zh-CN" altLang="en-US" dirty="0"/>
              <a:t>，</a:t>
            </a:r>
            <a:r>
              <a:rPr lang="zh-CN" altLang="en-US" dirty="0" smtClean="0"/>
              <a:t>中文就是单个字。</a:t>
            </a:r>
            <a:endParaRPr lang="en-US" altLang="zh-CN" dirty="0" smtClean="0"/>
          </a:p>
        </p:txBody>
      </p:sp>
      <p:sp>
        <p:nvSpPr>
          <p:cNvPr id="9" name="文本框 8"/>
          <p:cNvSpPr txBox="1"/>
          <p:nvPr/>
        </p:nvSpPr>
        <p:spPr>
          <a:xfrm>
            <a:off x="517524" y="3611697"/>
            <a:ext cx="4886915" cy="1338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/>
              <a:t>Word Level</a:t>
            </a:r>
            <a:r>
              <a:rPr lang="zh-CN" altLang="en-US" dirty="0"/>
              <a:t>：英文不需要，中文可能会需要</a:t>
            </a:r>
            <a:r>
              <a:rPr lang="zh-CN" altLang="en-US" dirty="0" smtClean="0"/>
              <a:t>。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dirty="0" smtClean="0"/>
              <a:t>简单来说</a:t>
            </a:r>
            <a:r>
              <a:rPr lang="zh-CN" altLang="en-US" dirty="0"/>
              <a:t>，分词主要是「分割语义」，</a:t>
            </a:r>
            <a:r>
              <a:rPr lang="zh-CN" altLang="en-US" dirty="0" smtClean="0"/>
              <a:t>降低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dirty="0" smtClean="0"/>
              <a:t>不确定性，要不</a:t>
            </a:r>
            <a:r>
              <a:rPr lang="zh-CN" altLang="en-US" dirty="0"/>
              <a:t>要分词一般要看任务和模型。</a:t>
            </a:r>
            <a:endParaRPr lang="en-US" altLang="zh-CN" dirty="0" smtClean="0"/>
          </a:p>
        </p:txBody>
      </p:sp>
      <p:sp>
        <p:nvSpPr>
          <p:cNvPr id="10" name="文本框 9"/>
          <p:cNvSpPr txBox="1"/>
          <p:nvPr/>
        </p:nvSpPr>
        <p:spPr>
          <a:xfrm>
            <a:off x="517524" y="5115194"/>
            <a:ext cx="5493812" cy="8739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err="1" smtClean="0"/>
              <a:t>SubWord</a:t>
            </a:r>
            <a:r>
              <a:rPr lang="en-US" altLang="zh-CN" b="1" dirty="0" smtClean="0"/>
              <a:t> Level</a:t>
            </a:r>
            <a:r>
              <a:rPr lang="zh-CN" altLang="en-US" dirty="0" smtClean="0"/>
              <a:t>：在</a:t>
            </a:r>
            <a:r>
              <a:rPr lang="zh-CN" altLang="en-US" dirty="0"/>
              <a:t>英文中很常见，当然</a:t>
            </a:r>
            <a:r>
              <a:rPr lang="zh-CN" altLang="en-US" dirty="0" smtClean="0"/>
              <a:t>中文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zh-CN" altLang="en-US" dirty="0" smtClean="0"/>
              <a:t>也</a:t>
            </a:r>
            <a:r>
              <a:rPr lang="zh-CN" altLang="en-US" dirty="0"/>
              <a:t>可以做，是介于字级别和词级别中间的一种粒度</a:t>
            </a:r>
            <a:r>
              <a:rPr lang="zh-CN" altLang="en-US" dirty="0" smtClean="0"/>
              <a:t>。</a:t>
            </a:r>
            <a:endParaRPr lang="en-US" altLang="zh-CN" dirty="0" smtClean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5490164" y="1352550"/>
            <a:ext cx="5562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dirty="0"/>
              <a:t>我们需要知道的是，字和词并非哪个一定比另一个好，都要需要根据具体情况具体分析的。它们的特点如下</a:t>
            </a:r>
            <a:r>
              <a:rPr lang="zh-CN" altLang="zh-CN" dirty="0" smtClean="0"/>
              <a:t>：</a:t>
            </a:r>
            <a:endParaRPr lang="zh-CN" altLang="zh-CN" dirty="0"/>
          </a:p>
        </p:txBody>
      </p:sp>
      <p:sp>
        <p:nvSpPr>
          <p:cNvPr id="11" name="矩形 10"/>
          <p:cNvSpPr/>
          <p:nvPr/>
        </p:nvSpPr>
        <p:spPr>
          <a:xfrm>
            <a:off x="8845174" y="5115194"/>
            <a:ext cx="3179140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dirty="0"/>
              <a:t>注：OOV=Out Of Vocabulary</a:t>
            </a:r>
            <a:endParaRPr lang="zh-CN" altLang="zh-C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964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zh-CN" altLang="en-US" dirty="0" smtClean="0"/>
              <a:t>分词工具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r="27608"/>
          <a:stretch/>
        </p:blipFill>
        <p:spPr>
          <a:xfrm>
            <a:off x="669924" y="1734742"/>
            <a:ext cx="3578226" cy="1285714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669924" y="1213645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 smtClean="0"/>
              <a:t>Jieba</a:t>
            </a:r>
            <a:r>
              <a:rPr lang="zh-CN" altLang="en-US" dirty="0" smtClean="0"/>
              <a:t>分词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669924" y="5793420"/>
            <a:ext cx="42114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zhuanlan.zhihu.com/p/86322679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24" y="3020456"/>
            <a:ext cx="8238095" cy="25714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46056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j-ea"/>
                <a:sym typeface="+mn-lt"/>
              </a:rPr>
              <a:t>文本标准化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spc="100" dirty="0">
                <a:cs typeface="+mn-ea"/>
                <a:sym typeface="+mn-lt"/>
              </a:rPr>
              <a:t>Text standardization</a:t>
            </a: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F381C9F4-9864-40BC-B01A-015B98442A04}"/>
              </a:ext>
            </a:extLst>
          </p:cNvPr>
          <p:cNvSpPr/>
          <p:nvPr/>
        </p:nvSpPr>
        <p:spPr>
          <a:xfrm>
            <a:off x="5291684" y="803025"/>
            <a:ext cx="1608633" cy="1608633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6600" dirty="0">
                <a:cs typeface="+mn-ea"/>
                <a:sym typeface="+mn-lt"/>
              </a:rPr>
              <a:t>肆</a:t>
            </a:r>
            <a:endParaRPr lang="zh-CN" altLang="en-US" sz="6600" dirty="0">
              <a:cs typeface="+mn-ea"/>
              <a:sym typeface="+mn-lt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5451591" y="5908377"/>
            <a:ext cx="1288818" cy="108000"/>
            <a:chOff x="5569673" y="5908377"/>
            <a:chExt cx="1288818" cy="108000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D98FD99A-EFD0-4141-B733-9E7ED74FDA18}"/>
                </a:ext>
              </a:extLst>
            </p:cNvPr>
            <p:cNvSpPr/>
            <p:nvPr/>
          </p:nvSpPr>
          <p:spPr>
            <a:xfrm>
              <a:off x="5569673" y="5908377"/>
              <a:ext cx="108000" cy="108000"/>
            </a:xfrm>
            <a:prstGeom prst="ellipse">
              <a:avLst/>
            </a:prstGeom>
            <a:solidFill>
              <a:srgbClr val="FDFDFD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3C208640-08C5-402E-ACFC-188FE0D4F27B}"/>
                </a:ext>
              </a:extLst>
            </p:cNvPr>
            <p:cNvSpPr/>
            <p:nvPr/>
          </p:nvSpPr>
          <p:spPr>
            <a:xfrm>
              <a:off x="5805836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DE2ECDD2-6209-42D7-AAF9-EDB622256F50}"/>
                </a:ext>
              </a:extLst>
            </p:cNvPr>
            <p:cNvSpPr/>
            <p:nvPr/>
          </p:nvSpPr>
          <p:spPr>
            <a:xfrm>
              <a:off x="6042000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A9CE3EBB-608E-4FBF-85EF-9B447244FA8E}"/>
                </a:ext>
              </a:extLst>
            </p:cNvPr>
            <p:cNvSpPr/>
            <p:nvPr/>
          </p:nvSpPr>
          <p:spPr>
            <a:xfrm>
              <a:off x="6278163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514327" y="5908377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750491" y="5908377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65712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zh-CN" altLang="en-US" dirty="0" smtClean="0"/>
              <a:t>文本标准化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631785" y="3142496"/>
            <a:ext cx="28162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-apple-system"/>
              </a:rPr>
              <a:t>去掉</a:t>
            </a:r>
            <a:r>
              <a:rPr lang="zh-CN" altLang="en-US" b="1" dirty="0">
                <a:latin typeface="-apple-system"/>
              </a:rPr>
              <a:t>停用词、</a:t>
            </a:r>
            <a:r>
              <a:rPr lang="zh-CN" altLang="en-US" b="1" dirty="0" smtClean="0">
                <a:latin typeface="-apple-system"/>
              </a:rPr>
              <a:t>词汇表</a:t>
            </a:r>
            <a:r>
              <a:rPr lang="zh-CN" altLang="en-US" dirty="0" smtClean="0">
                <a:latin typeface="-apple-system"/>
              </a:rPr>
              <a:t>等等。</a:t>
            </a:r>
            <a:endParaRPr lang="en-US" altLang="zh-CN" dirty="0" smtClean="0">
              <a:latin typeface="-apple-system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100906" y="2283976"/>
            <a:ext cx="387798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b="1" dirty="0">
                <a:latin typeface="-apple-system"/>
              </a:rPr>
              <a:t>需要又不完全需要</a:t>
            </a:r>
            <a:endParaRPr lang="en-US" altLang="zh-CN" sz="3600" b="1" dirty="0">
              <a:latin typeface="-apple-system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9877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zh-CN" altLang="en-US" spc="60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altLang="zh-CN" spc="30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6" name="标题 1"/>
          <p:cNvSpPr txBox="1">
            <a:spLocks/>
          </p:cNvSpPr>
          <p:nvPr/>
        </p:nvSpPr>
        <p:spPr>
          <a:xfrm>
            <a:off x="863822" y="1174159"/>
            <a:ext cx="4035634" cy="4721290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7C2D64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zh-CN" altLang="en-US" dirty="0"/>
              <a:t>分享</a:t>
            </a:r>
            <a:r>
              <a:rPr lang="zh-CN" altLang="en-US" dirty="0" smtClean="0"/>
              <a:t>提纲：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dirty="0" smtClean="0"/>
              <a:t>1.NLP</a:t>
            </a:r>
            <a:r>
              <a:rPr lang="zh-CN" altLang="en-US" dirty="0" smtClean="0"/>
              <a:t>预处理流程介绍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dirty="0" smtClean="0"/>
              <a:t>2.NLP</a:t>
            </a:r>
            <a:r>
              <a:rPr lang="zh-CN" altLang="en-US" dirty="0" smtClean="0"/>
              <a:t>常见语料库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dirty="0" smtClean="0"/>
              <a:t>3.</a:t>
            </a:r>
            <a:r>
              <a:rPr lang="zh-CN" altLang="en-US" dirty="0" smtClean="0"/>
              <a:t>文本清洗方法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dirty="0" smtClean="0"/>
              <a:t>4.</a:t>
            </a:r>
            <a:r>
              <a:rPr lang="zh-CN" altLang="en-US" dirty="0" smtClean="0"/>
              <a:t>分词技术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dirty="0"/>
              <a:t>5</a:t>
            </a:r>
            <a:r>
              <a:rPr lang="en-US" altLang="zh-CN" dirty="0" smtClean="0"/>
              <a:t>.</a:t>
            </a:r>
            <a:r>
              <a:rPr lang="zh-CN" altLang="en-US" dirty="0" smtClean="0"/>
              <a:t>文本标准化</a:t>
            </a:r>
            <a:endParaRPr lang="en-US" altLang="zh-CN" dirty="0" smtClean="0"/>
          </a:p>
          <a:p>
            <a:pPr>
              <a:lnSpc>
                <a:spcPct val="150000"/>
              </a:lnSpc>
            </a:pPr>
            <a:r>
              <a:rPr lang="en-US" altLang="zh-CN" dirty="0" smtClean="0"/>
              <a:t>6.</a:t>
            </a:r>
            <a:r>
              <a:rPr lang="zh-CN" altLang="en-US" dirty="0" smtClean="0"/>
              <a:t>文本向量化</a:t>
            </a:r>
            <a:r>
              <a:rPr lang="en-US" altLang="zh-CN" dirty="0" smtClean="0"/>
              <a:t>-</a:t>
            </a:r>
            <a:r>
              <a:rPr lang="zh-CN" altLang="en-US" dirty="0" smtClean="0"/>
              <a:t>特征提取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0735367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zh-CN" altLang="en-US" dirty="0" smtClean="0"/>
              <a:t>文本标准化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437252" y="1456074"/>
            <a:ext cx="29642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b="1" dirty="0" smtClean="0">
                <a:latin typeface="-apple-system"/>
              </a:rPr>
              <a:t>词汇表 </a:t>
            </a:r>
            <a:r>
              <a:rPr lang="en-US" altLang="zh-CN" sz="3600" b="1" dirty="0" smtClean="0">
                <a:latin typeface="-apple-system"/>
              </a:rPr>
              <a:t>Vocab</a:t>
            </a:r>
            <a:endParaRPr lang="en-US" altLang="zh-CN" sz="3600" b="1" dirty="0">
              <a:latin typeface="-apple-system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7772400" y="2957829"/>
            <a:ext cx="24003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我：  </a:t>
            </a:r>
            <a:r>
              <a:rPr lang="en-US" altLang="zh-CN" dirty="0"/>
              <a:t>[1, 0, 0, 0, 0]</a:t>
            </a:r>
          </a:p>
          <a:p>
            <a:r>
              <a:rPr lang="zh-CN" altLang="en-US" dirty="0"/>
              <a:t>爱：  </a:t>
            </a:r>
            <a:r>
              <a:rPr lang="en-US" altLang="zh-CN" dirty="0"/>
              <a:t>[0, 1, 0, 0, 0]</a:t>
            </a:r>
          </a:p>
          <a:p>
            <a:r>
              <a:rPr lang="zh-CN" altLang="en-US" dirty="0"/>
              <a:t>自然：</a:t>
            </a:r>
            <a:r>
              <a:rPr lang="en-US" altLang="zh-CN" dirty="0"/>
              <a:t>[0, 0, 1, 0, 0]</a:t>
            </a:r>
          </a:p>
          <a:p>
            <a:r>
              <a:rPr lang="zh-CN" altLang="en-US" dirty="0"/>
              <a:t>语言：</a:t>
            </a:r>
            <a:r>
              <a:rPr lang="en-US" altLang="zh-CN" dirty="0"/>
              <a:t>[0, 0, 0, 1, 0]</a:t>
            </a:r>
          </a:p>
          <a:p>
            <a:r>
              <a:rPr lang="zh-CN" altLang="en-US" dirty="0"/>
              <a:t>处理：</a:t>
            </a:r>
            <a:r>
              <a:rPr lang="en-US" altLang="zh-CN" dirty="0"/>
              <a:t>[0, 0, 0, 0, 1]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1539874" y="2680831"/>
            <a:ext cx="24003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1</a:t>
            </a:r>
            <a:r>
              <a:rPr lang="en-US" altLang="zh-CN" dirty="0"/>
              <a:t>:</a:t>
            </a:r>
            <a:r>
              <a:rPr lang="zh-CN" altLang="en-US" dirty="0" smtClean="0"/>
              <a:t>我</a:t>
            </a:r>
            <a:endParaRPr lang="en-US" altLang="zh-CN" dirty="0" smtClean="0"/>
          </a:p>
          <a:p>
            <a:r>
              <a:rPr lang="en-US" altLang="zh-CN" dirty="0" smtClean="0"/>
              <a:t>2:</a:t>
            </a:r>
            <a:r>
              <a:rPr lang="zh-CN" altLang="en-US" dirty="0" smtClean="0"/>
              <a:t>爱</a:t>
            </a:r>
            <a:endParaRPr lang="en-US" altLang="zh-CN" dirty="0" smtClean="0"/>
          </a:p>
          <a:p>
            <a:r>
              <a:rPr lang="en-US" altLang="zh-CN" dirty="0" smtClean="0"/>
              <a:t>3:</a:t>
            </a:r>
            <a:r>
              <a:rPr lang="zh-CN" altLang="en-US" dirty="0" smtClean="0"/>
              <a:t>自然</a:t>
            </a:r>
            <a:endParaRPr lang="en-US" altLang="zh-CN" dirty="0" smtClean="0"/>
          </a:p>
          <a:p>
            <a:r>
              <a:rPr lang="en-US" altLang="zh-CN" dirty="0" smtClean="0"/>
              <a:t>4:</a:t>
            </a:r>
            <a:r>
              <a:rPr lang="zh-CN" altLang="en-US" dirty="0" smtClean="0"/>
              <a:t>语言</a:t>
            </a:r>
            <a:endParaRPr lang="en-US" altLang="zh-CN" dirty="0" smtClean="0"/>
          </a:p>
          <a:p>
            <a:r>
              <a:rPr lang="en-US" altLang="zh-CN" dirty="0" smtClean="0"/>
              <a:t>5:</a:t>
            </a:r>
            <a:r>
              <a:rPr lang="zh-CN" altLang="en-US" dirty="0" smtClean="0"/>
              <a:t>处理</a:t>
            </a:r>
            <a:endParaRPr lang="en-US" altLang="zh-CN" dirty="0"/>
          </a:p>
          <a:p>
            <a:r>
              <a:rPr lang="en-US" altLang="zh-CN" dirty="0" smtClean="0"/>
              <a:t>…</a:t>
            </a:r>
          </a:p>
          <a:p>
            <a:r>
              <a:rPr lang="en-US" altLang="zh-CN" dirty="0" smtClean="0"/>
              <a:t>200000:</a:t>
            </a:r>
            <a:r>
              <a:rPr lang="zh-CN" altLang="en-US" dirty="0" smtClean="0"/>
              <a:t>自然语言处理</a:t>
            </a:r>
            <a:endParaRPr lang="zh-CN" altLang="en-US" dirty="0"/>
          </a:p>
        </p:txBody>
      </p:sp>
      <p:sp>
        <p:nvSpPr>
          <p:cNvPr id="10" name="右箭头 9"/>
          <p:cNvSpPr/>
          <p:nvPr/>
        </p:nvSpPr>
        <p:spPr>
          <a:xfrm>
            <a:off x="5324475" y="3349506"/>
            <a:ext cx="923925" cy="457993"/>
          </a:xfrm>
          <a:prstGeom prst="rightArrow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2036952" y="4921251"/>
            <a:ext cx="24003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某个</a:t>
            </a:r>
            <a:r>
              <a:rPr lang="en-US" altLang="zh-CN" dirty="0" smtClean="0"/>
              <a:t>vocab.txt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8230753" y="4921251"/>
            <a:ext cx="18492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One-hot</a:t>
            </a:r>
            <a:r>
              <a:rPr lang="zh-CN" altLang="en-US" dirty="0"/>
              <a:t>向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4115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j-ea"/>
                <a:sym typeface="+mn-lt"/>
              </a:rPr>
              <a:t>文本特征提取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spc="100" dirty="0">
                <a:cs typeface="+mn-ea"/>
                <a:sym typeface="+mn-lt"/>
              </a:rPr>
              <a:t>Text feature extraction</a:t>
            </a: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F381C9F4-9864-40BC-B01A-015B98442A04}"/>
              </a:ext>
            </a:extLst>
          </p:cNvPr>
          <p:cNvSpPr/>
          <p:nvPr/>
        </p:nvSpPr>
        <p:spPr>
          <a:xfrm>
            <a:off x="5291684" y="803025"/>
            <a:ext cx="1608633" cy="1608633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6600" dirty="0">
                <a:cs typeface="+mn-ea"/>
                <a:sym typeface="+mn-lt"/>
              </a:rPr>
              <a:t>肆</a:t>
            </a:r>
            <a:endParaRPr lang="zh-CN" altLang="en-US" sz="6600" dirty="0">
              <a:cs typeface="+mn-ea"/>
              <a:sym typeface="+mn-lt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451591" y="5908377"/>
            <a:ext cx="1288818" cy="108000"/>
            <a:chOff x="5569673" y="5908377"/>
            <a:chExt cx="1288818" cy="108000"/>
          </a:xfrm>
        </p:grpSpPr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D98FD99A-EFD0-4141-B733-9E7ED74FDA18}"/>
                </a:ext>
              </a:extLst>
            </p:cNvPr>
            <p:cNvSpPr/>
            <p:nvPr/>
          </p:nvSpPr>
          <p:spPr>
            <a:xfrm>
              <a:off x="5569673" y="5908377"/>
              <a:ext cx="108000" cy="108000"/>
            </a:xfrm>
            <a:prstGeom prst="ellipse">
              <a:avLst/>
            </a:prstGeom>
            <a:solidFill>
              <a:srgbClr val="FDFDFD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3C208640-08C5-402E-ACFC-188FE0D4F27B}"/>
                </a:ext>
              </a:extLst>
            </p:cNvPr>
            <p:cNvSpPr/>
            <p:nvPr/>
          </p:nvSpPr>
          <p:spPr>
            <a:xfrm>
              <a:off x="5805836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DE2ECDD2-6209-42D7-AAF9-EDB622256F50}"/>
                </a:ext>
              </a:extLst>
            </p:cNvPr>
            <p:cNvSpPr/>
            <p:nvPr/>
          </p:nvSpPr>
          <p:spPr>
            <a:xfrm>
              <a:off x="6042000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A9CE3EBB-608E-4FBF-85EF-9B447244FA8E}"/>
                </a:ext>
              </a:extLst>
            </p:cNvPr>
            <p:cNvSpPr/>
            <p:nvPr/>
          </p:nvSpPr>
          <p:spPr>
            <a:xfrm>
              <a:off x="6278163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514327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750491" y="5908377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96867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zh-CN" altLang="en-US" dirty="0"/>
              <a:t>文本特征提取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69924" y="1591903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统计：</a:t>
            </a:r>
            <a:r>
              <a:rPr lang="en-US" altLang="zh-CN" dirty="0" smtClean="0"/>
              <a:t>TF-IDF</a:t>
            </a:r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669924" y="2374991"/>
            <a:ext cx="32710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Embedding</a:t>
            </a:r>
            <a:r>
              <a:rPr lang="zh-CN" altLang="en-US" dirty="0" smtClean="0"/>
              <a:t>：</a:t>
            </a:r>
            <a:r>
              <a:rPr lang="en-US" altLang="zh-CN" dirty="0" smtClean="0"/>
              <a:t>Word2vec</a:t>
            </a:r>
            <a:r>
              <a:rPr lang="zh-CN" altLang="en-US" dirty="0" smtClean="0"/>
              <a:t>、</a:t>
            </a:r>
            <a:r>
              <a:rPr lang="en-US" altLang="zh-CN" dirty="0" smtClean="0"/>
              <a:t>Bert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669924" y="3292154"/>
            <a:ext cx="32944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 smtClean="0"/>
              <a:t>Embedding+N_gram</a:t>
            </a:r>
            <a:r>
              <a:rPr lang="zh-CN" altLang="en-US" dirty="0" smtClean="0"/>
              <a:t>：</a:t>
            </a:r>
            <a:r>
              <a:rPr lang="en-US" altLang="zh-CN" dirty="0" err="1" smtClean="0"/>
              <a:t>Fastext</a:t>
            </a:r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669924" y="4209528"/>
            <a:ext cx="34740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Embedding+</a:t>
            </a:r>
            <a:r>
              <a:rPr lang="zh-CN" altLang="en-US" dirty="0" smtClean="0"/>
              <a:t>共现相关性：</a:t>
            </a:r>
            <a:r>
              <a:rPr lang="en-US" altLang="zh-CN" dirty="0" smtClean="0"/>
              <a:t>Glove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6337830" y="1335515"/>
            <a:ext cx="51339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由于自然语言的「齐夫定律」，高频词会很自然地占据了主导</a:t>
            </a:r>
            <a:r>
              <a:rPr lang="zh-CN" altLang="en-US" dirty="0" smtClean="0"/>
              <a:t>地位，生成的向量自然会向高频词倾斜</a:t>
            </a:r>
            <a:endParaRPr lang="zh-CN" altLang="en-US" dirty="0"/>
          </a:p>
        </p:txBody>
      </p:sp>
      <p:cxnSp>
        <p:nvCxnSpPr>
          <p:cNvPr id="11" name="直接连接符 10"/>
          <p:cNvCxnSpPr/>
          <p:nvPr/>
        </p:nvCxnSpPr>
        <p:spPr>
          <a:xfrm flipH="1">
            <a:off x="5562987" y="1335515"/>
            <a:ext cx="9139" cy="4282610"/>
          </a:xfrm>
          <a:prstGeom prst="line">
            <a:avLst/>
          </a:prstGeom>
          <a:ln w="28575">
            <a:solidFill>
              <a:srgbClr val="7C2D6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/>
        </p:nvSpPr>
        <p:spPr>
          <a:xfrm>
            <a:off x="6337830" y="2435090"/>
            <a:ext cx="50445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齐夫定律：在自然语言语料库中，一个单词出现的频率与它在频率表里的排名成反比</a:t>
            </a:r>
            <a:r>
              <a:rPr lang="zh-CN" altLang="en-US" dirty="0" smtClean="0"/>
              <a:t>。</a:t>
            </a:r>
            <a:endParaRPr lang="zh-CN" altLang="en-US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3"/>
          <a:srcRect l="4004"/>
          <a:stretch/>
        </p:blipFill>
        <p:spPr>
          <a:xfrm>
            <a:off x="6561292" y="3257666"/>
            <a:ext cx="2879880" cy="8000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 rotWithShape="1">
          <a:blip r:embed="rId4"/>
          <a:srcRect l="4138" r="1666"/>
          <a:stretch/>
        </p:blipFill>
        <p:spPr>
          <a:xfrm>
            <a:off x="6561292" y="4110124"/>
            <a:ext cx="5553075" cy="742857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5"/>
          <a:srcRect l="11046"/>
          <a:stretch/>
        </p:blipFill>
        <p:spPr>
          <a:xfrm>
            <a:off x="6456517" y="4957897"/>
            <a:ext cx="2117957" cy="561905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3"/>
          <a:srcRect l="4004"/>
          <a:stretch/>
        </p:blipFill>
        <p:spPr>
          <a:xfrm>
            <a:off x="6456517" y="3257666"/>
            <a:ext cx="2879880" cy="80000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4"/>
          <a:srcRect l="4138" r="1666"/>
          <a:stretch/>
        </p:blipFill>
        <p:spPr>
          <a:xfrm>
            <a:off x="6456517" y="4136353"/>
            <a:ext cx="5553075" cy="7428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6243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zh-CN" altLang="en-US" dirty="0"/>
              <a:t>文本特征提取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02259" y="5740274"/>
            <a:ext cx="42755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zhuanlan.zhihu.com/p/26306795/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24" y="1283382"/>
            <a:ext cx="5088337" cy="297991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5642" y="1146147"/>
            <a:ext cx="4479469" cy="44935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00028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zh-CN" altLang="en-US" dirty="0"/>
              <a:t>文本特征提取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69924" y="5749799"/>
            <a:ext cx="7611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https://www.bilibili.com/video/BV1pu411o7BE?spm_id_from=333.999.0.0</a:t>
            </a:r>
            <a:endParaRPr lang="zh-CN" altLang="en-US" dirty="0"/>
          </a:p>
        </p:txBody>
      </p:sp>
      <p:pic>
        <p:nvPicPr>
          <p:cNvPr id="9218" name="Picture 2" descr="embedding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4" y="1612558"/>
            <a:ext cx="10448925" cy="308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78123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3865563" y="2480094"/>
            <a:ext cx="4460875" cy="1897813"/>
          </a:xfrm>
        </p:spPr>
        <p:txBody>
          <a:bodyPr>
            <a:noAutofit/>
          </a:bodyPr>
          <a:lstStyle/>
          <a:p>
            <a:r>
              <a:rPr lang="en-US" altLang="zh-CN" sz="9600" dirty="0" smtClean="0"/>
              <a:t>Q&amp;A</a:t>
            </a:r>
            <a:endParaRPr lang="zh-CN" altLang="en-US" sz="96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3078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 smtClean="0"/>
              <a:t>感谢</a:t>
            </a:r>
            <a:r>
              <a:rPr lang="zh-CN" altLang="en-US" dirty="0"/>
              <a:t>观看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汇报人</a:t>
            </a:r>
            <a:r>
              <a:rPr lang="zh-CN" altLang="en-US" dirty="0" smtClean="0">
                <a:cs typeface="+mn-ea"/>
                <a:sym typeface="+mn-lt"/>
              </a:rPr>
              <a:t>：</a:t>
            </a:r>
            <a:r>
              <a:rPr lang="zh-CN" altLang="en-US" dirty="0">
                <a:cs typeface="+mn-ea"/>
                <a:sym typeface="+mn-lt"/>
              </a:rPr>
              <a:t>胡庭恺</a:t>
            </a:r>
            <a:r>
              <a:rPr lang="zh-CN" altLang="en-US" dirty="0" smtClean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| </a:t>
            </a:r>
            <a:r>
              <a:rPr lang="zh-CN" altLang="en-US" dirty="0">
                <a:cs typeface="+mn-ea"/>
                <a:sym typeface="+mn-lt"/>
              </a:rPr>
              <a:t>指导老师</a:t>
            </a:r>
            <a:r>
              <a:rPr lang="zh-CN" altLang="en-US" dirty="0" smtClean="0">
                <a:cs typeface="+mn-ea"/>
                <a:sym typeface="+mn-lt"/>
              </a:rPr>
              <a:t>：重庆科技学院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102" y="4107542"/>
            <a:ext cx="10845798" cy="1169308"/>
          </a:xfrm>
        </p:spPr>
        <p:txBody>
          <a:bodyPr/>
          <a:lstStyle/>
          <a:p>
            <a:r>
              <a:rPr lang="zh-CN" altLang="en-US" sz="1200" dirty="0">
                <a:solidFill>
                  <a:schemeClr val="bg1">
                    <a:lumMod val="75000"/>
                  </a:schemeClr>
                </a:solidFill>
              </a:rPr>
              <a:t>感谢</a:t>
            </a:r>
            <a:r>
              <a:rPr lang="zh-CN" altLang="en-US" sz="1200" dirty="0" smtClean="0">
                <a:solidFill>
                  <a:schemeClr val="bg1">
                    <a:lumMod val="75000"/>
                  </a:schemeClr>
                </a:solidFill>
              </a:rPr>
              <a:t>观看</a:t>
            </a:r>
            <a:endParaRPr lang="en-US" altLang="zh-CN" sz="1200" dirty="0" smtClean="0">
              <a:solidFill>
                <a:schemeClr val="bg1">
                  <a:lumMod val="75000"/>
                </a:schemeClr>
              </a:solidFill>
            </a:endParaRPr>
          </a:p>
          <a:p>
            <a:endParaRPr lang="zh-CN" alt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8" name="箭头: V 形 7">
            <a:extLst>
              <a:ext uri="{FF2B5EF4-FFF2-40B4-BE49-F238E27FC236}">
                <a16:creationId xmlns:a16="http://schemas.microsoft.com/office/drawing/2014/main" id="{85CAA4FF-74DE-4480-819C-5DAEFC1477E8}"/>
              </a:ext>
            </a:extLst>
          </p:cNvPr>
          <p:cNvSpPr/>
          <p:nvPr/>
        </p:nvSpPr>
        <p:spPr>
          <a:xfrm>
            <a:off x="10608523" y="2880385"/>
            <a:ext cx="304800" cy="353119"/>
          </a:xfrm>
          <a:prstGeom prst="chevron">
            <a:avLst>
              <a:gd name="adj" fmla="val 56250"/>
            </a:avLst>
          </a:prstGeom>
          <a:solidFill>
            <a:srgbClr val="7C2D64"/>
          </a:solidFill>
          <a:ln>
            <a:solidFill>
              <a:srgbClr val="7C2D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箭头: V 形 8">
            <a:extLst>
              <a:ext uri="{FF2B5EF4-FFF2-40B4-BE49-F238E27FC236}">
                <a16:creationId xmlns:a16="http://schemas.microsoft.com/office/drawing/2014/main" id="{A2D8E004-A099-442E-8F88-F92A0D26C057}"/>
              </a:ext>
            </a:extLst>
          </p:cNvPr>
          <p:cNvSpPr/>
          <p:nvPr/>
        </p:nvSpPr>
        <p:spPr>
          <a:xfrm flipH="1">
            <a:off x="1278677" y="2880384"/>
            <a:ext cx="304800" cy="353119"/>
          </a:xfrm>
          <a:prstGeom prst="chevron">
            <a:avLst>
              <a:gd name="adj" fmla="val 56250"/>
            </a:avLst>
          </a:prstGeom>
          <a:solidFill>
            <a:srgbClr val="7C2D64"/>
          </a:solidFill>
          <a:ln>
            <a:solidFill>
              <a:srgbClr val="7C2D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2A1BEC32-12F8-4B26-B485-8BCE3B5E5759}"/>
              </a:ext>
            </a:extLst>
          </p:cNvPr>
          <p:cNvCxnSpPr/>
          <p:nvPr/>
        </p:nvCxnSpPr>
        <p:spPr>
          <a:xfrm>
            <a:off x="3365500" y="5619465"/>
            <a:ext cx="0" cy="319315"/>
          </a:xfrm>
          <a:prstGeom prst="line">
            <a:avLst/>
          </a:prstGeom>
          <a:ln w="25400">
            <a:solidFill>
              <a:srgbClr val="7C2D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45F8638D-C895-4B13-B2FF-5C602810B6C6}"/>
              </a:ext>
            </a:extLst>
          </p:cNvPr>
          <p:cNvCxnSpPr/>
          <p:nvPr/>
        </p:nvCxnSpPr>
        <p:spPr>
          <a:xfrm>
            <a:off x="8807450" y="5619465"/>
            <a:ext cx="0" cy="319315"/>
          </a:xfrm>
          <a:prstGeom prst="line">
            <a:avLst/>
          </a:prstGeom>
          <a:ln w="25400">
            <a:solidFill>
              <a:srgbClr val="7C2D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/>
          <a:srcRect t="22657" r="26811"/>
          <a:stretch/>
        </p:blipFill>
        <p:spPr>
          <a:xfrm>
            <a:off x="6748335" y="14294"/>
            <a:ext cx="5443665" cy="5634761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DABF8EEB-4B32-45B3-989A-CB3A27DA33F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9FB1387-53B7-42D1-A7F5-4FFA3C5CC75C}"/>
              </a:ext>
            </a:extLst>
          </p:cNvPr>
          <p:cNvSpPr txBox="1"/>
          <p:nvPr/>
        </p:nvSpPr>
        <p:spPr>
          <a:xfrm>
            <a:off x="5613902" y="1792678"/>
            <a:ext cx="27494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spc="300" dirty="0" smtClean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NLP</a:t>
            </a:r>
            <a:r>
              <a:rPr lang="zh-CN" altLang="en-US" sz="2400" b="1" spc="300" dirty="0" smtClean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预处理流程</a:t>
            </a:r>
            <a:endParaRPr lang="zh-CN" altLang="en-US" sz="2400" b="1" spc="300" dirty="0">
              <a:solidFill>
                <a:schemeClr val="tx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344C5AA-FB35-4B82-B77F-CC40E1FEDEF3}"/>
              </a:ext>
            </a:extLst>
          </p:cNvPr>
          <p:cNvSpPr txBox="1"/>
          <p:nvPr/>
        </p:nvSpPr>
        <p:spPr>
          <a:xfrm>
            <a:off x="5613902" y="2162075"/>
            <a:ext cx="25778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spc="100" dirty="0">
                <a:solidFill>
                  <a:schemeClr val="bg1">
                    <a:lumMod val="75000"/>
                  </a:schemeClr>
                </a:solidFill>
                <a:cs typeface="+mn-ea"/>
                <a:sym typeface="+mn-lt"/>
              </a:rPr>
              <a:t>NLP pretreatment process</a:t>
            </a:r>
            <a:endParaRPr lang="zh-CN" altLang="en-US" sz="1400" spc="100" dirty="0">
              <a:solidFill>
                <a:schemeClr val="bg1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A704D8C-3C41-4CDA-BADE-348AF35ACF97}"/>
              </a:ext>
            </a:extLst>
          </p:cNvPr>
          <p:cNvSpPr txBox="1"/>
          <p:nvPr/>
        </p:nvSpPr>
        <p:spPr>
          <a:xfrm>
            <a:off x="9132637" y="1792678"/>
            <a:ext cx="2646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spc="300" dirty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NLP</a:t>
            </a:r>
            <a:r>
              <a:rPr lang="zh-CN" altLang="en-US" sz="2400" b="1" spc="300" dirty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常见语料库</a:t>
            </a:r>
            <a:endParaRPr lang="zh-CN" altLang="en-US" sz="2400" b="1" spc="300" dirty="0">
              <a:solidFill>
                <a:schemeClr val="tx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A01633CD-8EA2-43E2-813F-A10D55118AC4}"/>
              </a:ext>
            </a:extLst>
          </p:cNvPr>
          <p:cNvSpPr txBox="1"/>
          <p:nvPr/>
        </p:nvSpPr>
        <p:spPr>
          <a:xfrm>
            <a:off x="9132637" y="2162075"/>
            <a:ext cx="21514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spc="100" dirty="0">
                <a:solidFill>
                  <a:schemeClr val="bg1">
                    <a:lumMod val="75000"/>
                  </a:schemeClr>
                </a:solidFill>
                <a:cs typeface="+mn-ea"/>
                <a:sym typeface="+mn-lt"/>
              </a:rPr>
              <a:t>NLP Common Corpus</a:t>
            </a:r>
            <a:endParaRPr lang="zh-CN" altLang="en-US" sz="1400" spc="100" dirty="0">
              <a:solidFill>
                <a:schemeClr val="bg1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A5964B46-AF93-4C71-9966-A488B0F5F331}"/>
              </a:ext>
            </a:extLst>
          </p:cNvPr>
          <p:cNvSpPr txBox="1"/>
          <p:nvPr/>
        </p:nvSpPr>
        <p:spPr>
          <a:xfrm>
            <a:off x="5613902" y="3452843"/>
            <a:ext cx="2262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spc="300" dirty="0" smtClean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文本清洗方法</a:t>
            </a:r>
            <a:endParaRPr lang="zh-CN" altLang="en-US" sz="2400" b="1" spc="300" dirty="0">
              <a:solidFill>
                <a:schemeClr val="tx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6EB3E02F-59CD-433B-863B-F24988070BA6}"/>
              </a:ext>
            </a:extLst>
          </p:cNvPr>
          <p:cNvSpPr txBox="1"/>
          <p:nvPr/>
        </p:nvSpPr>
        <p:spPr>
          <a:xfrm>
            <a:off x="5613902" y="3822240"/>
            <a:ext cx="2131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spc="100" dirty="0">
                <a:solidFill>
                  <a:schemeClr val="bg1">
                    <a:lumMod val="75000"/>
                  </a:schemeClr>
                </a:solidFill>
                <a:cs typeface="+mn-ea"/>
                <a:sym typeface="+mn-lt"/>
              </a:rPr>
              <a:t>Text cleaning method</a:t>
            </a:r>
            <a:endParaRPr lang="zh-CN" altLang="en-US" sz="1400" spc="100" dirty="0">
              <a:solidFill>
                <a:schemeClr val="bg1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DCF2D27B-7BF4-492B-A9A4-2189DB3C3F1E}"/>
              </a:ext>
            </a:extLst>
          </p:cNvPr>
          <p:cNvSpPr txBox="1"/>
          <p:nvPr/>
        </p:nvSpPr>
        <p:spPr>
          <a:xfrm>
            <a:off x="9132637" y="3452843"/>
            <a:ext cx="15568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spc="300" dirty="0" smtClean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分词技术</a:t>
            </a:r>
            <a:endParaRPr lang="zh-CN" altLang="en-US" sz="2400" b="1" spc="300" dirty="0">
              <a:solidFill>
                <a:schemeClr val="tx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CEC7B6CC-D11F-4711-AB25-089BD9BD1D46}"/>
              </a:ext>
            </a:extLst>
          </p:cNvPr>
          <p:cNvSpPr txBox="1"/>
          <p:nvPr/>
        </p:nvSpPr>
        <p:spPr>
          <a:xfrm>
            <a:off x="9132637" y="3822240"/>
            <a:ext cx="10656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spc="100" dirty="0">
                <a:solidFill>
                  <a:schemeClr val="bg1">
                    <a:lumMod val="75000"/>
                  </a:schemeClr>
                </a:solidFill>
                <a:cs typeface="+mn-ea"/>
                <a:sym typeface="+mn-lt"/>
              </a:rPr>
              <a:t>Tokenizer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C9DC7E44-6688-4D6C-B379-D6A75E48E0C0}"/>
              </a:ext>
            </a:extLst>
          </p:cNvPr>
          <p:cNvSpPr txBox="1"/>
          <p:nvPr/>
        </p:nvSpPr>
        <p:spPr>
          <a:xfrm>
            <a:off x="5613902" y="5113008"/>
            <a:ext cx="19159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spc="300" dirty="0" smtClean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文本标准化</a:t>
            </a:r>
            <a:endParaRPr lang="zh-CN" altLang="en-US" sz="2400" b="1" spc="300" dirty="0">
              <a:solidFill>
                <a:schemeClr val="tx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48343A8B-2106-44CA-818E-3BF5E6164615}"/>
              </a:ext>
            </a:extLst>
          </p:cNvPr>
          <p:cNvSpPr txBox="1"/>
          <p:nvPr/>
        </p:nvSpPr>
        <p:spPr>
          <a:xfrm>
            <a:off x="5613902" y="5482405"/>
            <a:ext cx="20322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spc="100" dirty="0">
                <a:solidFill>
                  <a:schemeClr val="bg1">
                    <a:lumMod val="75000"/>
                  </a:schemeClr>
                </a:solidFill>
                <a:cs typeface="+mn-ea"/>
                <a:sym typeface="+mn-lt"/>
              </a:rPr>
              <a:t>Text standardization</a:t>
            </a:r>
            <a:endParaRPr lang="zh-CN" altLang="en-US" sz="1400" spc="100" dirty="0">
              <a:solidFill>
                <a:schemeClr val="bg1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4D05B0CB-4E27-453B-B7CB-7086FC8CDFC2}"/>
              </a:ext>
            </a:extLst>
          </p:cNvPr>
          <p:cNvSpPr/>
          <p:nvPr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250E0E7-C390-4B2F-8C70-3F06B89B6E89}"/>
              </a:ext>
            </a:extLst>
          </p:cNvPr>
          <p:cNvSpPr txBox="1"/>
          <p:nvPr/>
        </p:nvSpPr>
        <p:spPr>
          <a:xfrm>
            <a:off x="7453202" y="6582445"/>
            <a:ext cx="47387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00" spc="300" dirty="0">
                <a:solidFill>
                  <a:schemeClr val="bg1"/>
                </a:solidFill>
                <a:cs typeface="Arial" panose="020B0604020202020204" pitchFamily="34" charset="0"/>
              </a:rPr>
              <a:t>Chongqing University of Science and Technology</a:t>
            </a:r>
            <a:endParaRPr lang="zh-CN" altLang="en-US" sz="1000" spc="3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256E489C-BAF5-4BE1-9A18-56F8CF115B35}"/>
              </a:ext>
            </a:extLst>
          </p:cNvPr>
          <p:cNvGrpSpPr/>
          <p:nvPr/>
        </p:nvGrpSpPr>
        <p:grpSpPr>
          <a:xfrm>
            <a:off x="10263168" y="6126091"/>
            <a:ext cx="1052654" cy="108000"/>
            <a:chOff x="10467218" y="6126091"/>
            <a:chExt cx="1052654" cy="108000"/>
          </a:xfrm>
        </p:grpSpPr>
        <p:sp>
          <p:nvSpPr>
            <p:cNvPr id="27" name="椭圆 26">
              <a:extLst>
                <a:ext uri="{FF2B5EF4-FFF2-40B4-BE49-F238E27FC236}">
                  <a16:creationId xmlns:a16="http://schemas.microsoft.com/office/drawing/2014/main" id="{191B09C9-1ABC-4BF1-A44F-ABD7AD195A5A}"/>
                </a:ext>
              </a:extLst>
            </p:cNvPr>
            <p:cNvSpPr/>
            <p:nvPr/>
          </p:nvSpPr>
          <p:spPr>
            <a:xfrm>
              <a:off x="10467218" y="6126091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957F8A54-8A6B-444E-8D5D-ED38BBF5CD62}"/>
                </a:ext>
              </a:extLst>
            </p:cNvPr>
            <p:cNvSpPr/>
            <p:nvPr/>
          </p:nvSpPr>
          <p:spPr>
            <a:xfrm>
              <a:off x="10703381" y="6126091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9" name="椭圆 28">
              <a:extLst>
                <a:ext uri="{FF2B5EF4-FFF2-40B4-BE49-F238E27FC236}">
                  <a16:creationId xmlns:a16="http://schemas.microsoft.com/office/drawing/2014/main" id="{FF772FB0-D741-4385-B229-63826DB27278}"/>
                </a:ext>
              </a:extLst>
            </p:cNvPr>
            <p:cNvSpPr/>
            <p:nvPr/>
          </p:nvSpPr>
          <p:spPr>
            <a:xfrm>
              <a:off x="10939545" y="6126091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CEAC0D10-1B5E-4F10-9935-5E13E2021BA7}"/>
                </a:ext>
              </a:extLst>
            </p:cNvPr>
            <p:cNvSpPr/>
            <p:nvPr/>
          </p:nvSpPr>
          <p:spPr>
            <a:xfrm>
              <a:off x="11175708" y="6126091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1" name="椭圆 30">
              <a:extLst>
                <a:ext uri="{FF2B5EF4-FFF2-40B4-BE49-F238E27FC236}">
                  <a16:creationId xmlns:a16="http://schemas.microsoft.com/office/drawing/2014/main" id="{CB0973DC-D6B1-4086-9351-90C6BD12853C}"/>
                </a:ext>
              </a:extLst>
            </p:cNvPr>
            <p:cNvSpPr/>
            <p:nvPr/>
          </p:nvSpPr>
          <p:spPr>
            <a:xfrm>
              <a:off x="11411872" y="6126091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32" name="文本框 31">
            <a:extLst>
              <a:ext uri="{FF2B5EF4-FFF2-40B4-BE49-F238E27FC236}">
                <a16:creationId xmlns:a16="http://schemas.microsoft.com/office/drawing/2014/main" id="{C5F34153-E224-4A06-A420-F9267993D7F0}"/>
              </a:ext>
            </a:extLst>
          </p:cNvPr>
          <p:cNvSpPr txBox="1"/>
          <p:nvPr/>
        </p:nvSpPr>
        <p:spPr>
          <a:xfrm>
            <a:off x="-218304" y="756599"/>
            <a:ext cx="50189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8000" b="1" spc="50" dirty="0">
                <a:solidFill>
                  <a:schemeClr val="tx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Contents</a:t>
            </a:r>
            <a:endParaRPr lang="zh-CN" altLang="en-US" sz="8000" b="1" spc="50" dirty="0">
              <a:solidFill>
                <a:schemeClr val="tx2">
                  <a:lumMod val="20000"/>
                  <a:lumOff val="8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C1FD4D74-22AA-4755-8544-37BF1A77956C}"/>
              </a:ext>
            </a:extLst>
          </p:cNvPr>
          <p:cNvSpPr txBox="1"/>
          <p:nvPr/>
        </p:nvSpPr>
        <p:spPr>
          <a:xfrm>
            <a:off x="585844" y="1052991"/>
            <a:ext cx="2544286" cy="70788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zh-CN" altLang="en-US" sz="4000" b="1" spc="600" dirty="0">
                <a:solidFill>
                  <a:srgbClr val="7C2D64"/>
                </a:solidFill>
                <a:latin typeface="+mj-ea"/>
                <a:ea typeface="+mj-ea"/>
                <a:cs typeface="+mn-ea"/>
                <a:sym typeface="+mn-lt"/>
              </a:rPr>
              <a:t>结构大纲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726DAA6B-5C80-4CD9-ABF8-775590A45D3A}"/>
              </a:ext>
            </a:extLst>
          </p:cNvPr>
          <p:cNvSpPr/>
          <p:nvPr/>
        </p:nvSpPr>
        <p:spPr>
          <a:xfrm>
            <a:off x="679450" y="1902127"/>
            <a:ext cx="1080000" cy="98012"/>
          </a:xfrm>
          <a:prstGeom prst="rect">
            <a:avLst/>
          </a:prstGeom>
          <a:solidFill>
            <a:srgbClr val="7C2D64"/>
          </a:solidFill>
          <a:ln>
            <a:solidFill>
              <a:srgbClr val="7C2D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7C2D64"/>
              </a:solidFill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2E97A452-EF46-4BB7-8D3C-BFB482C54134}"/>
              </a:ext>
            </a:extLst>
          </p:cNvPr>
          <p:cNvSpPr/>
          <p:nvPr/>
        </p:nvSpPr>
        <p:spPr>
          <a:xfrm>
            <a:off x="5030643" y="1221929"/>
            <a:ext cx="646120" cy="646120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800" b="1" dirty="0">
                <a:cs typeface="+mn-ea"/>
                <a:sym typeface="+mn-lt"/>
              </a:rPr>
              <a:t>壹</a:t>
            </a:r>
          </a:p>
        </p:txBody>
      </p: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79DA372E-1BB3-4CD0-9552-E79AA1D4ED0B}"/>
              </a:ext>
            </a:extLst>
          </p:cNvPr>
          <p:cNvCxnSpPr>
            <a:cxnSpLocks/>
          </p:cNvCxnSpPr>
          <p:nvPr/>
        </p:nvCxnSpPr>
        <p:spPr>
          <a:xfrm flipH="1">
            <a:off x="5397961" y="1292174"/>
            <a:ext cx="678852" cy="883678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椭圆 36">
            <a:extLst>
              <a:ext uri="{FF2B5EF4-FFF2-40B4-BE49-F238E27FC236}">
                <a16:creationId xmlns:a16="http://schemas.microsoft.com/office/drawing/2014/main" id="{5A3A6DD2-C88B-4A97-B395-5ABFB4214E0E}"/>
              </a:ext>
            </a:extLst>
          </p:cNvPr>
          <p:cNvSpPr/>
          <p:nvPr/>
        </p:nvSpPr>
        <p:spPr>
          <a:xfrm>
            <a:off x="5030643" y="2859699"/>
            <a:ext cx="646120" cy="646120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800" b="1" dirty="0">
                <a:cs typeface="+mn-ea"/>
                <a:sym typeface="+mn-lt"/>
              </a:rPr>
              <a:t>叁</a:t>
            </a:r>
          </a:p>
        </p:txBody>
      </p: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DC6A9854-832E-45A5-A7C5-5A046F2CF5FD}"/>
              </a:ext>
            </a:extLst>
          </p:cNvPr>
          <p:cNvCxnSpPr>
            <a:cxnSpLocks/>
          </p:cNvCxnSpPr>
          <p:nvPr/>
        </p:nvCxnSpPr>
        <p:spPr>
          <a:xfrm flipH="1">
            <a:off x="5397961" y="2929944"/>
            <a:ext cx="678852" cy="883678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椭圆 38">
            <a:extLst>
              <a:ext uri="{FF2B5EF4-FFF2-40B4-BE49-F238E27FC236}">
                <a16:creationId xmlns:a16="http://schemas.microsoft.com/office/drawing/2014/main" id="{CCD4356C-71C7-450E-BF08-85BAF7E1BB9D}"/>
              </a:ext>
            </a:extLst>
          </p:cNvPr>
          <p:cNvSpPr/>
          <p:nvPr/>
        </p:nvSpPr>
        <p:spPr>
          <a:xfrm>
            <a:off x="5030643" y="4587495"/>
            <a:ext cx="646120" cy="646120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800" b="1" dirty="0">
                <a:cs typeface="+mn-ea"/>
                <a:sym typeface="+mn-lt"/>
              </a:rPr>
              <a:t>伍</a:t>
            </a:r>
          </a:p>
        </p:txBody>
      </p: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BA3CC4C1-AAFC-4268-9D42-A98ECF4014C8}"/>
              </a:ext>
            </a:extLst>
          </p:cNvPr>
          <p:cNvCxnSpPr>
            <a:cxnSpLocks/>
          </p:cNvCxnSpPr>
          <p:nvPr/>
        </p:nvCxnSpPr>
        <p:spPr>
          <a:xfrm flipH="1">
            <a:off x="5397961" y="4657740"/>
            <a:ext cx="678852" cy="883678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椭圆 40">
            <a:extLst>
              <a:ext uri="{FF2B5EF4-FFF2-40B4-BE49-F238E27FC236}">
                <a16:creationId xmlns:a16="http://schemas.microsoft.com/office/drawing/2014/main" id="{188F01D2-1588-406D-B0FE-5D3F54BCBD34}"/>
              </a:ext>
            </a:extLst>
          </p:cNvPr>
          <p:cNvSpPr/>
          <p:nvPr/>
        </p:nvSpPr>
        <p:spPr>
          <a:xfrm>
            <a:off x="8507785" y="1221929"/>
            <a:ext cx="646120" cy="646120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800" b="1" dirty="0">
                <a:cs typeface="+mn-ea"/>
                <a:sym typeface="+mn-lt"/>
              </a:rPr>
              <a:t>贰</a:t>
            </a:r>
          </a:p>
        </p:txBody>
      </p: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1632CF09-DDCB-4AD3-81CC-9D4B8B4773C9}"/>
              </a:ext>
            </a:extLst>
          </p:cNvPr>
          <p:cNvCxnSpPr>
            <a:cxnSpLocks/>
          </p:cNvCxnSpPr>
          <p:nvPr/>
        </p:nvCxnSpPr>
        <p:spPr>
          <a:xfrm flipH="1">
            <a:off x="8875103" y="1292174"/>
            <a:ext cx="678852" cy="883678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椭圆 42">
            <a:extLst>
              <a:ext uri="{FF2B5EF4-FFF2-40B4-BE49-F238E27FC236}">
                <a16:creationId xmlns:a16="http://schemas.microsoft.com/office/drawing/2014/main" id="{602B383D-E48E-4B3F-A84E-08D2B0CC5578}"/>
              </a:ext>
            </a:extLst>
          </p:cNvPr>
          <p:cNvSpPr/>
          <p:nvPr/>
        </p:nvSpPr>
        <p:spPr>
          <a:xfrm>
            <a:off x="8507785" y="2859699"/>
            <a:ext cx="646120" cy="646120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800" b="1" dirty="0">
                <a:cs typeface="+mn-ea"/>
                <a:sym typeface="+mn-lt"/>
              </a:rPr>
              <a:t>肆</a:t>
            </a:r>
          </a:p>
        </p:txBody>
      </p: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82A2409A-213B-44C1-9F4C-FF6095A5A576}"/>
              </a:ext>
            </a:extLst>
          </p:cNvPr>
          <p:cNvCxnSpPr>
            <a:cxnSpLocks/>
          </p:cNvCxnSpPr>
          <p:nvPr/>
        </p:nvCxnSpPr>
        <p:spPr>
          <a:xfrm flipH="1">
            <a:off x="8875103" y="2929944"/>
            <a:ext cx="678852" cy="883678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文本框 45">
            <a:extLst>
              <a:ext uri="{FF2B5EF4-FFF2-40B4-BE49-F238E27FC236}">
                <a16:creationId xmlns:a16="http://schemas.microsoft.com/office/drawing/2014/main" id="{C9DC7E44-6688-4D6C-B379-D6A75E48E0C0}"/>
              </a:ext>
            </a:extLst>
          </p:cNvPr>
          <p:cNvSpPr txBox="1"/>
          <p:nvPr/>
        </p:nvSpPr>
        <p:spPr>
          <a:xfrm>
            <a:off x="9091044" y="5039230"/>
            <a:ext cx="2262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b="1" spc="300" dirty="0" smtClean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文本特征提取</a:t>
            </a:r>
            <a:endParaRPr lang="zh-CN" altLang="en-US" sz="2400" b="1" spc="300" dirty="0">
              <a:solidFill>
                <a:schemeClr val="tx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48343A8B-2106-44CA-818E-3BF5E6164615}"/>
              </a:ext>
            </a:extLst>
          </p:cNvPr>
          <p:cNvSpPr txBox="1"/>
          <p:nvPr/>
        </p:nvSpPr>
        <p:spPr>
          <a:xfrm>
            <a:off x="9091044" y="5408627"/>
            <a:ext cx="223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spc="100" dirty="0">
                <a:solidFill>
                  <a:schemeClr val="bg1">
                    <a:lumMod val="75000"/>
                  </a:schemeClr>
                </a:solidFill>
                <a:cs typeface="+mn-ea"/>
                <a:sym typeface="+mn-lt"/>
              </a:rPr>
              <a:t>Text feature extraction</a:t>
            </a:r>
            <a:endParaRPr lang="zh-CN" altLang="en-US" sz="1400" spc="100" dirty="0">
              <a:solidFill>
                <a:schemeClr val="bg1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CCD4356C-71C7-450E-BF08-85BAF7E1BB9D}"/>
              </a:ext>
            </a:extLst>
          </p:cNvPr>
          <p:cNvSpPr/>
          <p:nvPr/>
        </p:nvSpPr>
        <p:spPr>
          <a:xfrm>
            <a:off x="8507785" y="4513717"/>
            <a:ext cx="646120" cy="646120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zh-CN" altLang="en-US" sz="2800" b="1" dirty="0">
                <a:cs typeface="+mn-ea"/>
                <a:sym typeface="+mn-lt"/>
              </a:rPr>
              <a:t>陆</a:t>
            </a:r>
            <a:endParaRPr lang="zh-CN" altLang="en-US" sz="2800" b="1" dirty="0">
              <a:cs typeface="+mn-ea"/>
              <a:sym typeface="+mn-lt"/>
            </a:endParaRPr>
          </a:p>
        </p:txBody>
      </p: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BA3CC4C1-AAFC-4268-9D42-A98ECF4014C8}"/>
              </a:ext>
            </a:extLst>
          </p:cNvPr>
          <p:cNvCxnSpPr>
            <a:cxnSpLocks/>
          </p:cNvCxnSpPr>
          <p:nvPr/>
        </p:nvCxnSpPr>
        <p:spPr>
          <a:xfrm flipH="1">
            <a:off x="8875103" y="4583962"/>
            <a:ext cx="678852" cy="883678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组合 49"/>
          <p:cNvGrpSpPr/>
          <p:nvPr/>
        </p:nvGrpSpPr>
        <p:grpSpPr>
          <a:xfrm>
            <a:off x="562188" y="2921084"/>
            <a:ext cx="3335803" cy="3205007"/>
            <a:chOff x="3608325" y="1248166"/>
            <a:chExt cx="4962650" cy="4768067"/>
          </a:xfrm>
        </p:grpSpPr>
        <p:grpSp>
          <p:nvGrpSpPr>
            <p:cNvPr id="51" name="íṥḷíḓê">
              <a:extLst>
                <a:ext uri="{FF2B5EF4-FFF2-40B4-BE49-F238E27FC236}">
                  <a16:creationId xmlns:a16="http://schemas.microsoft.com/office/drawing/2014/main" id="{49F97989-29E6-469F-826B-62A4C43C7AA9}"/>
                </a:ext>
              </a:extLst>
            </p:cNvPr>
            <p:cNvGrpSpPr/>
            <p:nvPr/>
          </p:nvGrpSpPr>
          <p:grpSpPr>
            <a:xfrm>
              <a:off x="3608325" y="1248166"/>
              <a:ext cx="4962650" cy="4413040"/>
              <a:chOff x="3876550" y="2845957"/>
              <a:chExt cx="3058028" cy="2719353"/>
            </a:xfrm>
          </p:grpSpPr>
          <p:sp>
            <p:nvSpPr>
              <p:cNvPr id="67" name="iṧḷiḓè">
                <a:extLst>
                  <a:ext uri="{FF2B5EF4-FFF2-40B4-BE49-F238E27FC236}">
                    <a16:creationId xmlns:a16="http://schemas.microsoft.com/office/drawing/2014/main" id="{CB0B877E-24C4-443B-AF32-DB48E6527DF0}"/>
                  </a:ext>
                </a:extLst>
              </p:cNvPr>
              <p:cNvSpPr/>
              <p:nvPr/>
            </p:nvSpPr>
            <p:spPr>
              <a:xfrm>
                <a:off x="4006348" y="2845957"/>
                <a:ext cx="2857866" cy="2559430"/>
              </a:xfrm>
              <a:custGeom>
                <a:avLst/>
                <a:gdLst>
                  <a:gd name="connsiteX0" fmla="*/ 2538688 w 2857866"/>
                  <a:gd name="connsiteY0" fmla="*/ 916421 h 2559430"/>
                  <a:gd name="connsiteX1" fmla="*/ 2438917 w 2857866"/>
                  <a:gd name="connsiteY1" fmla="*/ 456157 h 2559430"/>
                  <a:gd name="connsiteX2" fmla="*/ 2109956 w 2857866"/>
                  <a:gd name="connsiteY2" fmla="*/ 234497 h 2559430"/>
                  <a:gd name="connsiteX3" fmla="*/ 1905237 w 2857866"/>
                  <a:gd name="connsiteY3" fmla="*/ 239203 h 2559430"/>
                  <a:gd name="connsiteX4" fmla="*/ 1642162 w 2857866"/>
                  <a:gd name="connsiteY4" fmla="*/ 39661 h 2559430"/>
                  <a:gd name="connsiteX5" fmla="*/ 1364498 w 2857866"/>
                  <a:gd name="connsiteY5" fmla="*/ 15189 h 2559430"/>
                  <a:gd name="connsiteX6" fmla="*/ 1167310 w 2857866"/>
                  <a:gd name="connsiteY6" fmla="*/ 149315 h 2559430"/>
                  <a:gd name="connsiteX7" fmla="*/ 743284 w 2857866"/>
                  <a:gd name="connsiteY7" fmla="*/ 178493 h 2559430"/>
                  <a:gd name="connsiteX8" fmla="*/ 633630 w 2857866"/>
                  <a:gd name="connsiteY8" fmla="*/ 470746 h 2559430"/>
                  <a:gd name="connsiteX9" fmla="*/ 363026 w 2857866"/>
                  <a:gd name="connsiteY9" fmla="*/ 660876 h 2559430"/>
                  <a:gd name="connsiteX10" fmla="*/ 172896 w 2857866"/>
                  <a:gd name="connsiteY10" fmla="*/ 1187025 h 2559430"/>
                  <a:gd name="connsiteX11" fmla="*/ 34065 w 2857866"/>
                  <a:gd name="connsiteY11" fmla="*/ 1384214 h 2559430"/>
                  <a:gd name="connsiteX12" fmla="*/ 160661 w 2857866"/>
                  <a:gd name="connsiteY12" fmla="*/ 2134377 h 2559430"/>
                  <a:gd name="connsiteX13" fmla="*/ 623748 w 2857866"/>
                  <a:gd name="connsiteY13" fmla="*/ 2480280 h 2559430"/>
                  <a:gd name="connsiteX14" fmla="*/ 1985713 w 2857866"/>
                  <a:gd name="connsiteY14" fmla="*/ 2516989 h 2559430"/>
                  <a:gd name="connsiteX15" fmla="*/ 2368324 w 2857866"/>
                  <a:gd name="connsiteY15" fmla="*/ 2470868 h 2559430"/>
                  <a:gd name="connsiteX16" fmla="*/ 2373031 w 2857866"/>
                  <a:gd name="connsiteY16" fmla="*/ 2312741 h 2559430"/>
                  <a:gd name="connsiteX17" fmla="*/ 2845530 w 2857866"/>
                  <a:gd name="connsiteY17" fmla="*/ 2188498 h 2559430"/>
                  <a:gd name="connsiteX18" fmla="*/ 2791879 w 2857866"/>
                  <a:gd name="connsiteY18" fmla="*/ 1881656 h 2559430"/>
                  <a:gd name="connsiteX19" fmla="*/ 2694462 w 2857866"/>
                  <a:gd name="connsiteY19" fmla="*/ 1581873 h 2559430"/>
                  <a:gd name="connsiteX20" fmla="*/ 2689756 w 2857866"/>
                  <a:gd name="connsiteY20" fmla="*/ 1403980 h 2559430"/>
                  <a:gd name="connsiteX21" fmla="*/ 2528805 w 2857866"/>
                  <a:gd name="connsiteY21" fmla="*/ 1209144 h 2559430"/>
                  <a:gd name="connsiteX22" fmla="*/ 2538688 w 2857866"/>
                  <a:gd name="connsiteY22" fmla="*/ 916421 h 2559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857866" h="2559430">
                    <a:moveTo>
                      <a:pt x="2538688" y="916421"/>
                    </a:moveTo>
                    <a:cubicBezTo>
                      <a:pt x="2542923" y="848181"/>
                      <a:pt x="2555159" y="634521"/>
                      <a:pt x="2438917" y="456157"/>
                    </a:cubicBezTo>
                    <a:cubicBezTo>
                      <a:pt x="2422445" y="431215"/>
                      <a:pt x="2300085" y="258028"/>
                      <a:pt x="2109956" y="234497"/>
                    </a:cubicBezTo>
                    <a:cubicBezTo>
                      <a:pt x="2010655" y="222261"/>
                      <a:pt x="1991360" y="263204"/>
                      <a:pt x="1905237" y="239203"/>
                    </a:cubicBezTo>
                    <a:cubicBezTo>
                      <a:pt x="1778171" y="203907"/>
                      <a:pt x="1782877" y="105077"/>
                      <a:pt x="1642162" y="39661"/>
                    </a:cubicBezTo>
                    <a:cubicBezTo>
                      <a:pt x="1624750" y="31661"/>
                      <a:pt x="1497212" y="-27166"/>
                      <a:pt x="1364498" y="15189"/>
                    </a:cubicBezTo>
                    <a:cubicBezTo>
                      <a:pt x="1265198" y="46721"/>
                      <a:pt x="1257668" y="100371"/>
                      <a:pt x="1167310" y="149315"/>
                    </a:cubicBezTo>
                    <a:cubicBezTo>
                      <a:pt x="989417" y="245321"/>
                      <a:pt x="849644" y="94253"/>
                      <a:pt x="743284" y="178493"/>
                    </a:cubicBezTo>
                    <a:cubicBezTo>
                      <a:pt x="661867" y="242968"/>
                      <a:pt x="725401" y="338032"/>
                      <a:pt x="633630" y="470746"/>
                    </a:cubicBezTo>
                    <a:cubicBezTo>
                      <a:pt x="547507" y="594989"/>
                      <a:pt x="466561" y="548398"/>
                      <a:pt x="363026" y="660876"/>
                    </a:cubicBezTo>
                    <a:cubicBezTo>
                      <a:pt x="232665" y="802531"/>
                      <a:pt x="315494" y="928186"/>
                      <a:pt x="172896" y="1187025"/>
                    </a:cubicBezTo>
                    <a:cubicBezTo>
                      <a:pt x="104657" y="1310798"/>
                      <a:pt x="74538" y="1302326"/>
                      <a:pt x="34065" y="1384214"/>
                    </a:cubicBezTo>
                    <a:cubicBezTo>
                      <a:pt x="11004" y="1430805"/>
                      <a:pt x="-74177" y="1802592"/>
                      <a:pt x="160661" y="2134377"/>
                    </a:cubicBezTo>
                    <a:cubicBezTo>
                      <a:pt x="309375" y="2344743"/>
                      <a:pt x="512211" y="2433219"/>
                      <a:pt x="623748" y="2480280"/>
                    </a:cubicBezTo>
                    <a:cubicBezTo>
                      <a:pt x="1114130" y="2687352"/>
                      <a:pt x="1264257" y="2410158"/>
                      <a:pt x="1985713" y="2516989"/>
                    </a:cubicBezTo>
                    <a:cubicBezTo>
                      <a:pt x="2066659" y="2528754"/>
                      <a:pt x="2313733" y="2569227"/>
                      <a:pt x="2368324" y="2470868"/>
                    </a:cubicBezTo>
                    <a:cubicBezTo>
                      <a:pt x="2397973" y="2416747"/>
                      <a:pt x="2344323" y="2368274"/>
                      <a:pt x="2373031" y="2312741"/>
                    </a:cubicBezTo>
                    <a:cubicBezTo>
                      <a:pt x="2437035" y="2188969"/>
                      <a:pt x="2773525" y="2318859"/>
                      <a:pt x="2845530" y="2188498"/>
                    </a:cubicBezTo>
                    <a:cubicBezTo>
                      <a:pt x="2875650" y="2133907"/>
                      <a:pt x="2847883" y="2049666"/>
                      <a:pt x="2791879" y="1881656"/>
                    </a:cubicBezTo>
                    <a:cubicBezTo>
                      <a:pt x="2741053" y="1728705"/>
                      <a:pt x="2702933" y="1697174"/>
                      <a:pt x="2694462" y="1581873"/>
                    </a:cubicBezTo>
                    <a:cubicBezTo>
                      <a:pt x="2687403" y="1485396"/>
                      <a:pt x="2711875" y="1467984"/>
                      <a:pt x="2689756" y="1403980"/>
                    </a:cubicBezTo>
                    <a:cubicBezTo>
                      <a:pt x="2653989" y="1300914"/>
                      <a:pt x="2574925" y="1298561"/>
                      <a:pt x="2528805" y="1209144"/>
                    </a:cubicBezTo>
                    <a:cubicBezTo>
                      <a:pt x="2485037" y="1123021"/>
                      <a:pt x="2529275" y="1069842"/>
                      <a:pt x="2538688" y="916421"/>
                    </a:cubicBezTo>
                    <a:close/>
                  </a:path>
                </a:pathLst>
              </a:custGeom>
              <a:solidFill>
                <a:srgbClr val="7C2D64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iś1iḍê">
                <a:extLst>
                  <a:ext uri="{FF2B5EF4-FFF2-40B4-BE49-F238E27FC236}">
                    <a16:creationId xmlns:a16="http://schemas.microsoft.com/office/drawing/2014/main" id="{8150C333-CDF5-46BB-BBB1-B23A672CA1B2}"/>
                  </a:ext>
                </a:extLst>
              </p:cNvPr>
              <p:cNvSpPr/>
              <p:nvPr/>
            </p:nvSpPr>
            <p:spPr>
              <a:xfrm>
                <a:off x="5895113" y="3993921"/>
                <a:ext cx="806637" cy="991118"/>
              </a:xfrm>
              <a:custGeom>
                <a:avLst/>
                <a:gdLst>
                  <a:gd name="connsiteX0" fmla="*/ 806637 w 806637"/>
                  <a:gd name="connsiteY0" fmla="*/ 873465 h 991118"/>
                  <a:gd name="connsiteX1" fmla="*/ 594860 w 806637"/>
                  <a:gd name="connsiteY1" fmla="*/ 991119 h 991118"/>
                  <a:gd name="connsiteX2" fmla="*/ 288959 w 806637"/>
                  <a:gd name="connsiteY2" fmla="*/ 696513 h 991118"/>
                  <a:gd name="connsiteX3" fmla="*/ 236720 w 806637"/>
                  <a:gd name="connsiteY3" fmla="*/ 646157 h 991118"/>
                  <a:gd name="connsiteX4" fmla="*/ 0 w 806637"/>
                  <a:gd name="connsiteY4" fmla="*/ 418378 h 991118"/>
                  <a:gd name="connsiteX5" fmla="*/ 135067 w 806637"/>
                  <a:gd name="connsiteY5" fmla="*/ 0 h 991118"/>
                  <a:gd name="connsiteX6" fmla="*/ 513443 w 806637"/>
                  <a:gd name="connsiteY6" fmla="*/ 376023 h 991118"/>
                  <a:gd name="connsiteX7" fmla="*/ 558622 w 806637"/>
                  <a:gd name="connsiteY7" fmla="*/ 434850 h 991118"/>
                  <a:gd name="connsiteX8" fmla="*/ 806637 w 806637"/>
                  <a:gd name="connsiteY8" fmla="*/ 873465 h 991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6637" h="991118">
                    <a:moveTo>
                      <a:pt x="806637" y="873465"/>
                    </a:moveTo>
                    <a:cubicBezTo>
                      <a:pt x="736045" y="912526"/>
                      <a:pt x="665452" y="952058"/>
                      <a:pt x="594860" y="991119"/>
                    </a:cubicBezTo>
                    <a:cubicBezTo>
                      <a:pt x="492736" y="892760"/>
                      <a:pt x="390612" y="794872"/>
                      <a:pt x="288959" y="696513"/>
                    </a:cubicBezTo>
                    <a:cubicBezTo>
                      <a:pt x="271546" y="680041"/>
                      <a:pt x="253662" y="663099"/>
                      <a:pt x="236720" y="646157"/>
                    </a:cubicBezTo>
                    <a:cubicBezTo>
                      <a:pt x="157657" y="569917"/>
                      <a:pt x="79064" y="494618"/>
                      <a:pt x="0" y="418378"/>
                    </a:cubicBezTo>
                    <a:cubicBezTo>
                      <a:pt x="45179" y="279076"/>
                      <a:pt x="89888" y="139303"/>
                      <a:pt x="135067" y="0"/>
                    </a:cubicBezTo>
                    <a:cubicBezTo>
                      <a:pt x="245191" y="85182"/>
                      <a:pt x="381200" y="208013"/>
                      <a:pt x="513443" y="376023"/>
                    </a:cubicBezTo>
                    <a:cubicBezTo>
                      <a:pt x="528503" y="394848"/>
                      <a:pt x="543562" y="414614"/>
                      <a:pt x="558622" y="434850"/>
                    </a:cubicBezTo>
                    <a:cubicBezTo>
                      <a:pt x="675335" y="595801"/>
                      <a:pt x="753928" y="749222"/>
                      <a:pt x="806637" y="873465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ïśľîďè">
                <a:extLst>
                  <a:ext uri="{FF2B5EF4-FFF2-40B4-BE49-F238E27FC236}">
                    <a16:creationId xmlns:a16="http://schemas.microsoft.com/office/drawing/2014/main" id="{84CA9F5B-961C-4616-9C54-29A83CD79CF6}"/>
                  </a:ext>
                </a:extLst>
              </p:cNvPr>
              <p:cNvSpPr/>
              <p:nvPr/>
            </p:nvSpPr>
            <p:spPr>
              <a:xfrm>
                <a:off x="6105627" y="4370415"/>
                <a:ext cx="302929" cy="320490"/>
              </a:xfrm>
              <a:custGeom>
                <a:avLst/>
                <a:gdLst>
                  <a:gd name="connsiteX0" fmla="*/ 302929 w 302929"/>
                  <a:gd name="connsiteY0" fmla="*/ 0 h 320490"/>
                  <a:gd name="connsiteX1" fmla="*/ 78445 w 302929"/>
                  <a:gd name="connsiteY1" fmla="*/ 320490 h 320490"/>
                  <a:gd name="connsiteX2" fmla="*/ 26206 w 302929"/>
                  <a:gd name="connsiteY2" fmla="*/ 270134 h 320490"/>
                  <a:gd name="connsiteX3" fmla="*/ 8794 w 302929"/>
                  <a:gd name="connsiteY3" fmla="*/ 134126 h 320490"/>
                  <a:gd name="connsiteX4" fmla="*/ 142919 w 302929"/>
                  <a:gd name="connsiteY4" fmla="*/ 37649 h 320490"/>
                  <a:gd name="connsiteX5" fmla="*/ 302929 w 302929"/>
                  <a:gd name="connsiteY5" fmla="*/ 0 h 320490"/>
                  <a:gd name="connsiteX6" fmla="*/ 302929 w 302929"/>
                  <a:gd name="connsiteY6" fmla="*/ 0 h 320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2929" h="320490">
                    <a:moveTo>
                      <a:pt x="302929" y="0"/>
                    </a:moveTo>
                    <a:cubicBezTo>
                      <a:pt x="228101" y="106830"/>
                      <a:pt x="153273" y="213660"/>
                      <a:pt x="78445" y="320490"/>
                    </a:cubicBezTo>
                    <a:cubicBezTo>
                      <a:pt x="61032" y="304019"/>
                      <a:pt x="43149" y="287076"/>
                      <a:pt x="26206" y="270134"/>
                    </a:cubicBezTo>
                    <a:cubicBezTo>
                      <a:pt x="322" y="223072"/>
                      <a:pt x="-8149" y="174128"/>
                      <a:pt x="8794" y="134126"/>
                    </a:cubicBezTo>
                    <a:cubicBezTo>
                      <a:pt x="29030" y="85652"/>
                      <a:pt x="80798" y="63533"/>
                      <a:pt x="142919" y="37649"/>
                    </a:cubicBezTo>
                    <a:cubicBezTo>
                      <a:pt x="206923" y="10354"/>
                      <a:pt x="264809" y="2353"/>
                      <a:pt x="302929" y="0"/>
                    </a:cubicBezTo>
                    <a:lnTo>
                      <a:pt x="302929" y="0"/>
                    </a:ln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íṣḻïḓè">
                <a:extLst>
                  <a:ext uri="{FF2B5EF4-FFF2-40B4-BE49-F238E27FC236}">
                    <a16:creationId xmlns:a16="http://schemas.microsoft.com/office/drawing/2014/main" id="{833A2E9A-FC7B-418D-9648-7D47CFEEE4F9}"/>
                  </a:ext>
                </a:extLst>
              </p:cNvPr>
              <p:cNvSpPr/>
              <p:nvPr/>
            </p:nvSpPr>
            <p:spPr>
              <a:xfrm>
                <a:off x="4231483" y="3961449"/>
                <a:ext cx="808519" cy="1024062"/>
              </a:xfrm>
              <a:custGeom>
                <a:avLst/>
                <a:gdLst>
                  <a:gd name="connsiteX0" fmla="*/ 808520 w 808519"/>
                  <a:gd name="connsiteY0" fmla="*/ 431085 h 1024062"/>
                  <a:gd name="connsiteX1" fmla="*/ 664982 w 808519"/>
                  <a:gd name="connsiteY1" fmla="*/ 573682 h 1024062"/>
                  <a:gd name="connsiteX2" fmla="*/ 529915 w 808519"/>
                  <a:gd name="connsiteY2" fmla="*/ 707808 h 1024062"/>
                  <a:gd name="connsiteX3" fmla="*/ 211778 w 808519"/>
                  <a:gd name="connsiteY3" fmla="*/ 1024062 h 1024062"/>
                  <a:gd name="connsiteX4" fmla="*/ 0 w 808519"/>
                  <a:gd name="connsiteY4" fmla="*/ 906408 h 1024062"/>
                  <a:gd name="connsiteX5" fmla="*/ 248956 w 808519"/>
                  <a:gd name="connsiteY5" fmla="*/ 468264 h 1024062"/>
                  <a:gd name="connsiteX6" fmla="*/ 729927 w 808519"/>
                  <a:gd name="connsiteY6" fmla="*/ 0 h 1024062"/>
                  <a:gd name="connsiteX7" fmla="*/ 808520 w 808519"/>
                  <a:gd name="connsiteY7" fmla="*/ 431085 h 1024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8519" h="1024062">
                    <a:moveTo>
                      <a:pt x="808520" y="431085"/>
                    </a:moveTo>
                    <a:cubicBezTo>
                      <a:pt x="760517" y="478617"/>
                      <a:pt x="712985" y="526150"/>
                      <a:pt x="664982" y="573682"/>
                    </a:cubicBezTo>
                    <a:cubicBezTo>
                      <a:pt x="619803" y="618391"/>
                      <a:pt x="575094" y="663099"/>
                      <a:pt x="529915" y="707808"/>
                    </a:cubicBezTo>
                    <a:cubicBezTo>
                      <a:pt x="424026" y="813226"/>
                      <a:pt x="317666" y="918173"/>
                      <a:pt x="211778" y="1024062"/>
                    </a:cubicBezTo>
                    <a:cubicBezTo>
                      <a:pt x="141185" y="985001"/>
                      <a:pt x="71063" y="945469"/>
                      <a:pt x="0" y="906408"/>
                    </a:cubicBezTo>
                    <a:cubicBezTo>
                      <a:pt x="52239" y="781695"/>
                      <a:pt x="129890" y="628273"/>
                      <a:pt x="248956" y="468264"/>
                    </a:cubicBezTo>
                    <a:cubicBezTo>
                      <a:pt x="414614" y="244721"/>
                      <a:pt x="594860" y="94594"/>
                      <a:pt x="729927" y="0"/>
                    </a:cubicBezTo>
                    <a:cubicBezTo>
                      <a:pt x="756281" y="143538"/>
                      <a:pt x="782165" y="287547"/>
                      <a:pt x="808520" y="431085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ïś1íḍê">
                <a:extLst>
                  <a:ext uri="{FF2B5EF4-FFF2-40B4-BE49-F238E27FC236}">
                    <a16:creationId xmlns:a16="http://schemas.microsoft.com/office/drawing/2014/main" id="{68E9DF45-AC1F-4088-AC92-52DE7D9B8675}"/>
                  </a:ext>
                </a:extLst>
              </p:cNvPr>
              <p:cNvSpPr/>
              <p:nvPr/>
            </p:nvSpPr>
            <p:spPr>
              <a:xfrm>
                <a:off x="4535031" y="4371356"/>
                <a:ext cx="361433" cy="297900"/>
              </a:xfrm>
              <a:custGeom>
                <a:avLst/>
                <a:gdLst>
                  <a:gd name="connsiteX0" fmla="*/ 361434 w 361433"/>
                  <a:gd name="connsiteY0" fmla="*/ 163775 h 297900"/>
                  <a:gd name="connsiteX1" fmla="*/ 226367 w 361433"/>
                  <a:gd name="connsiteY1" fmla="*/ 297901 h 297900"/>
                  <a:gd name="connsiteX2" fmla="*/ 0 w 361433"/>
                  <a:gd name="connsiteY2" fmla="*/ 0 h 297900"/>
                  <a:gd name="connsiteX3" fmla="*/ 257427 w 361433"/>
                  <a:gd name="connsiteY3" fmla="*/ 104948 h 297900"/>
                  <a:gd name="connsiteX4" fmla="*/ 361434 w 361433"/>
                  <a:gd name="connsiteY4" fmla="*/ 163775 h 297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433" h="297900">
                    <a:moveTo>
                      <a:pt x="361434" y="163775"/>
                    </a:moveTo>
                    <a:cubicBezTo>
                      <a:pt x="316255" y="208483"/>
                      <a:pt x="271546" y="253192"/>
                      <a:pt x="226367" y="297901"/>
                    </a:cubicBezTo>
                    <a:cubicBezTo>
                      <a:pt x="150597" y="198600"/>
                      <a:pt x="75299" y="99300"/>
                      <a:pt x="0" y="0"/>
                    </a:cubicBezTo>
                    <a:cubicBezTo>
                      <a:pt x="107301" y="34355"/>
                      <a:pt x="193894" y="72946"/>
                      <a:pt x="257427" y="104948"/>
                    </a:cubicBezTo>
                    <a:cubicBezTo>
                      <a:pt x="305430" y="128478"/>
                      <a:pt x="338373" y="147774"/>
                      <a:pt x="361434" y="163775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ïṧ1iḓê">
                <a:extLst>
                  <a:ext uri="{FF2B5EF4-FFF2-40B4-BE49-F238E27FC236}">
                    <a16:creationId xmlns:a16="http://schemas.microsoft.com/office/drawing/2014/main" id="{4168EA90-04C7-4C2A-B613-3E29424F222A}"/>
                  </a:ext>
                </a:extLst>
              </p:cNvPr>
              <p:cNvSpPr/>
              <p:nvPr/>
            </p:nvSpPr>
            <p:spPr>
              <a:xfrm>
                <a:off x="5342138" y="3497891"/>
                <a:ext cx="257898" cy="389670"/>
              </a:xfrm>
              <a:custGeom>
                <a:avLst/>
                <a:gdLst>
                  <a:gd name="connsiteX0" fmla="*/ 0 w 257898"/>
                  <a:gd name="connsiteY0" fmla="*/ 0 h 389670"/>
                  <a:gd name="connsiteX1" fmla="*/ 257898 w 257898"/>
                  <a:gd name="connsiteY1" fmla="*/ 0 h 389670"/>
                  <a:gd name="connsiteX2" fmla="*/ 257898 w 257898"/>
                  <a:gd name="connsiteY2" fmla="*/ 389671 h 389670"/>
                  <a:gd name="connsiteX3" fmla="*/ 0 w 257898"/>
                  <a:gd name="connsiteY3" fmla="*/ 389671 h 38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7898" h="389670">
                    <a:moveTo>
                      <a:pt x="0" y="0"/>
                    </a:moveTo>
                    <a:lnTo>
                      <a:pt x="257898" y="0"/>
                    </a:lnTo>
                    <a:lnTo>
                      <a:pt x="257898" y="389671"/>
                    </a:lnTo>
                    <a:lnTo>
                      <a:pt x="0" y="389671"/>
                    </a:ln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íṩḻîḍè">
                <a:extLst>
                  <a:ext uri="{FF2B5EF4-FFF2-40B4-BE49-F238E27FC236}">
                    <a16:creationId xmlns:a16="http://schemas.microsoft.com/office/drawing/2014/main" id="{D679D21D-6451-4F51-A397-BBFEEA8260D1}"/>
                  </a:ext>
                </a:extLst>
              </p:cNvPr>
              <p:cNvSpPr/>
              <p:nvPr/>
            </p:nvSpPr>
            <p:spPr>
              <a:xfrm>
                <a:off x="4912936" y="3810851"/>
                <a:ext cx="1116774" cy="1754459"/>
              </a:xfrm>
              <a:custGeom>
                <a:avLst/>
                <a:gdLst>
                  <a:gd name="connsiteX0" fmla="*/ 1106420 w 1116774"/>
                  <a:gd name="connsiteY0" fmla="*/ 1636805 h 1754459"/>
                  <a:gd name="connsiteX1" fmla="*/ 1114892 w 1116774"/>
                  <a:gd name="connsiteY1" fmla="*/ 1746459 h 1754459"/>
                  <a:gd name="connsiteX2" fmla="*/ 1114892 w 1116774"/>
                  <a:gd name="connsiteY2" fmla="*/ 1754460 h 1754459"/>
                  <a:gd name="connsiteX3" fmla="*/ 67769 w 1116774"/>
                  <a:gd name="connsiteY3" fmla="*/ 1754460 h 1754459"/>
                  <a:gd name="connsiteX4" fmla="*/ 941 w 1116774"/>
                  <a:gd name="connsiteY4" fmla="*/ 1742694 h 1754459"/>
                  <a:gd name="connsiteX5" fmla="*/ 17883 w 1116774"/>
                  <a:gd name="connsiteY5" fmla="*/ 1592568 h 1754459"/>
                  <a:gd name="connsiteX6" fmla="*/ 38120 w 1116774"/>
                  <a:gd name="connsiteY6" fmla="*/ 1519622 h 1754459"/>
                  <a:gd name="connsiteX7" fmla="*/ 64004 w 1116774"/>
                  <a:gd name="connsiteY7" fmla="*/ 1456089 h 1754459"/>
                  <a:gd name="connsiteX8" fmla="*/ 100712 w 1116774"/>
                  <a:gd name="connsiteY8" fmla="*/ 1387379 h 1754459"/>
                  <a:gd name="connsiteX9" fmla="*/ 203777 w 1116774"/>
                  <a:gd name="connsiteY9" fmla="*/ 1256077 h 1754459"/>
                  <a:gd name="connsiteX10" fmla="*/ 261663 w 1116774"/>
                  <a:gd name="connsiteY10" fmla="*/ 1203367 h 1754459"/>
                  <a:gd name="connsiteX11" fmla="*/ 193894 w 1116774"/>
                  <a:gd name="connsiteY11" fmla="*/ 936057 h 1754459"/>
                  <a:gd name="connsiteX12" fmla="*/ 166598 w 1116774"/>
                  <a:gd name="connsiteY12" fmla="*/ 829698 h 1754459"/>
                  <a:gd name="connsiteX13" fmla="*/ 124714 w 1116774"/>
                  <a:gd name="connsiteY13" fmla="*/ 667335 h 1754459"/>
                  <a:gd name="connsiteX14" fmla="*/ 108713 w 1116774"/>
                  <a:gd name="connsiteY14" fmla="*/ 605213 h 1754459"/>
                  <a:gd name="connsiteX15" fmla="*/ 107771 w 1116774"/>
                  <a:gd name="connsiteY15" fmla="*/ 601448 h 1754459"/>
                  <a:gd name="connsiteX16" fmla="*/ 0 w 1116774"/>
                  <a:gd name="connsiteY16" fmla="*/ 184952 h 1754459"/>
                  <a:gd name="connsiteX17" fmla="*/ 29649 w 1116774"/>
                  <a:gd name="connsiteY17" fmla="*/ 163775 h 1754459"/>
                  <a:gd name="connsiteX18" fmla="*/ 32473 w 1116774"/>
                  <a:gd name="connsiteY18" fmla="*/ 161892 h 1754459"/>
                  <a:gd name="connsiteX19" fmla="*/ 48944 w 1116774"/>
                  <a:gd name="connsiteY19" fmla="*/ 152009 h 1754459"/>
                  <a:gd name="connsiteX20" fmla="*/ 167540 w 1116774"/>
                  <a:gd name="connsiteY20" fmla="*/ 89417 h 1754459"/>
                  <a:gd name="connsiteX21" fmla="*/ 388730 w 1116774"/>
                  <a:gd name="connsiteY21" fmla="*/ 18825 h 1754459"/>
                  <a:gd name="connsiteX22" fmla="*/ 429203 w 1116774"/>
                  <a:gd name="connsiteY22" fmla="*/ 11765 h 1754459"/>
                  <a:gd name="connsiteX23" fmla="*/ 558152 w 1116774"/>
                  <a:gd name="connsiteY23" fmla="*/ 0 h 1754459"/>
                  <a:gd name="connsiteX24" fmla="*/ 687101 w 1116774"/>
                  <a:gd name="connsiteY24" fmla="*/ 11765 h 1754459"/>
                  <a:gd name="connsiteX25" fmla="*/ 727574 w 1116774"/>
                  <a:gd name="connsiteY25" fmla="*/ 18825 h 1754459"/>
                  <a:gd name="connsiteX26" fmla="*/ 951117 w 1116774"/>
                  <a:gd name="connsiteY26" fmla="*/ 90359 h 1754459"/>
                  <a:gd name="connsiteX27" fmla="*/ 1014650 w 1116774"/>
                  <a:gd name="connsiteY27" fmla="*/ 121419 h 1754459"/>
                  <a:gd name="connsiteX28" fmla="*/ 1027357 w 1116774"/>
                  <a:gd name="connsiteY28" fmla="*/ 128008 h 1754459"/>
                  <a:gd name="connsiteX29" fmla="*/ 1065006 w 1116774"/>
                  <a:gd name="connsiteY29" fmla="*/ 150127 h 1754459"/>
                  <a:gd name="connsiteX30" fmla="*/ 1090890 w 1116774"/>
                  <a:gd name="connsiteY30" fmla="*/ 166598 h 1754459"/>
                  <a:gd name="connsiteX31" fmla="*/ 1116774 w 1116774"/>
                  <a:gd name="connsiteY31" fmla="*/ 183541 h 1754459"/>
                  <a:gd name="connsiteX32" fmla="*/ 1058417 w 1116774"/>
                  <a:gd name="connsiteY32" fmla="*/ 408495 h 1754459"/>
                  <a:gd name="connsiteX33" fmla="*/ 1014180 w 1116774"/>
                  <a:gd name="connsiteY33" fmla="*/ 578388 h 1754459"/>
                  <a:gd name="connsiteX34" fmla="*/ 1002884 w 1116774"/>
                  <a:gd name="connsiteY34" fmla="*/ 622156 h 1754459"/>
                  <a:gd name="connsiteX35" fmla="*/ 992531 w 1116774"/>
                  <a:gd name="connsiteY35" fmla="*/ 663570 h 1754459"/>
                  <a:gd name="connsiteX36" fmla="*/ 981236 w 1116774"/>
                  <a:gd name="connsiteY36" fmla="*/ 707337 h 1754459"/>
                  <a:gd name="connsiteX37" fmla="*/ 947822 w 1116774"/>
                  <a:gd name="connsiteY37" fmla="*/ 836286 h 1754459"/>
                  <a:gd name="connsiteX38" fmla="*/ 853228 w 1116774"/>
                  <a:gd name="connsiteY38" fmla="*/ 1201956 h 1754459"/>
                  <a:gd name="connsiteX39" fmla="*/ 896996 w 1116774"/>
                  <a:gd name="connsiteY39" fmla="*/ 1240546 h 1754459"/>
                  <a:gd name="connsiteX40" fmla="*/ 956764 w 1116774"/>
                  <a:gd name="connsiteY40" fmla="*/ 1304079 h 1754459"/>
                  <a:gd name="connsiteX41" fmla="*/ 1007120 w 1116774"/>
                  <a:gd name="connsiteY41" fmla="*/ 1373260 h 1754459"/>
                  <a:gd name="connsiteX42" fmla="*/ 1042416 w 1116774"/>
                  <a:gd name="connsiteY42" fmla="*/ 1434440 h 1754459"/>
                  <a:gd name="connsiteX43" fmla="*/ 1078184 w 1116774"/>
                  <a:gd name="connsiteY43" fmla="*/ 1519622 h 1754459"/>
                  <a:gd name="connsiteX44" fmla="*/ 1089007 w 1116774"/>
                  <a:gd name="connsiteY44" fmla="*/ 1553506 h 1754459"/>
                  <a:gd name="connsiteX45" fmla="*/ 1106420 w 1116774"/>
                  <a:gd name="connsiteY45" fmla="*/ 1636805 h 1754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116774" h="1754459">
                    <a:moveTo>
                      <a:pt x="1106420" y="1636805"/>
                    </a:moveTo>
                    <a:cubicBezTo>
                      <a:pt x="1113009" y="1678220"/>
                      <a:pt x="1114892" y="1715398"/>
                      <a:pt x="1114892" y="1746459"/>
                    </a:cubicBezTo>
                    <a:cubicBezTo>
                      <a:pt x="1114892" y="1746930"/>
                      <a:pt x="1114892" y="1754460"/>
                      <a:pt x="1114892" y="1754460"/>
                    </a:cubicBezTo>
                    <a:lnTo>
                      <a:pt x="67769" y="1754460"/>
                    </a:lnTo>
                    <a:cubicBezTo>
                      <a:pt x="44238" y="1750224"/>
                      <a:pt x="22119" y="1746459"/>
                      <a:pt x="941" y="1742694"/>
                    </a:cubicBezTo>
                    <a:cubicBezTo>
                      <a:pt x="1412" y="1701751"/>
                      <a:pt x="4706" y="1650453"/>
                      <a:pt x="17883" y="1592568"/>
                    </a:cubicBezTo>
                    <a:cubicBezTo>
                      <a:pt x="23060" y="1569037"/>
                      <a:pt x="29649" y="1545035"/>
                      <a:pt x="38120" y="1519622"/>
                    </a:cubicBezTo>
                    <a:cubicBezTo>
                      <a:pt x="45650" y="1497032"/>
                      <a:pt x="54592" y="1475855"/>
                      <a:pt x="64004" y="1456089"/>
                    </a:cubicBezTo>
                    <a:cubicBezTo>
                      <a:pt x="75299" y="1431616"/>
                      <a:pt x="87535" y="1408556"/>
                      <a:pt x="100712" y="1387379"/>
                    </a:cubicBezTo>
                    <a:cubicBezTo>
                      <a:pt x="133655" y="1332316"/>
                      <a:pt x="170834" y="1289020"/>
                      <a:pt x="203777" y="1256077"/>
                    </a:cubicBezTo>
                    <a:cubicBezTo>
                      <a:pt x="225896" y="1233487"/>
                      <a:pt x="245662" y="1216074"/>
                      <a:pt x="261663" y="1203367"/>
                    </a:cubicBezTo>
                    <a:cubicBezTo>
                      <a:pt x="240015" y="1113480"/>
                      <a:pt x="216954" y="1024533"/>
                      <a:pt x="193894" y="936057"/>
                    </a:cubicBezTo>
                    <a:cubicBezTo>
                      <a:pt x="184952" y="900290"/>
                      <a:pt x="175540" y="864994"/>
                      <a:pt x="166598" y="829698"/>
                    </a:cubicBezTo>
                    <a:cubicBezTo>
                      <a:pt x="152480" y="775577"/>
                      <a:pt x="138361" y="721456"/>
                      <a:pt x="124714" y="667335"/>
                    </a:cubicBezTo>
                    <a:cubicBezTo>
                      <a:pt x="119537" y="646157"/>
                      <a:pt x="114360" y="625450"/>
                      <a:pt x="108713" y="605213"/>
                    </a:cubicBezTo>
                    <a:cubicBezTo>
                      <a:pt x="108713" y="603802"/>
                      <a:pt x="108242" y="602390"/>
                      <a:pt x="107771" y="601448"/>
                    </a:cubicBezTo>
                    <a:cubicBezTo>
                      <a:pt x="72004" y="462616"/>
                      <a:pt x="35767" y="323784"/>
                      <a:pt x="0" y="184952"/>
                    </a:cubicBezTo>
                    <a:cubicBezTo>
                      <a:pt x="8942" y="176952"/>
                      <a:pt x="18825" y="170834"/>
                      <a:pt x="29649" y="163775"/>
                    </a:cubicBezTo>
                    <a:cubicBezTo>
                      <a:pt x="30590" y="162833"/>
                      <a:pt x="31531" y="162363"/>
                      <a:pt x="32473" y="161892"/>
                    </a:cubicBezTo>
                    <a:cubicBezTo>
                      <a:pt x="37649" y="158598"/>
                      <a:pt x="43297" y="155304"/>
                      <a:pt x="48944" y="152009"/>
                    </a:cubicBezTo>
                    <a:cubicBezTo>
                      <a:pt x="82829" y="131302"/>
                      <a:pt x="122831" y="109654"/>
                      <a:pt x="167540" y="89417"/>
                    </a:cubicBezTo>
                    <a:cubicBezTo>
                      <a:pt x="231073" y="60710"/>
                      <a:pt x="304960" y="34826"/>
                      <a:pt x="388730" y="18825"/>
                    </a:cubicBezTo>
                    <a:cubicBezTo>
                      <a:pt x="402377" y="16001"/>
                      <a:pt x="416025" y="13648"/>
                      <a:pt x="429203" y="11765"/>
                    </a:cubicBezTo>
                    <a:cubicBezTo>
                      <a:pt x="473441" y="4706"/>
                      <a:pt x="516737" y="1412"/>
                      <a:pt x="558152" y="0"/>
                    </a:cubicBezTo>
                    <a:cubicBezTo>
                      <a:pt x="599566" y="941"/>
                      <a:pt x="642863" y="4706"/>
                      <a:pt x="687101" y="11765"/>
                    </a:cubicBezTo>
                    <a:cubicBezTo>
                      <a:pt x="700749" y="13648"/>
                      <a:pt x="713926" y="16001"/>
                      <a:pt x="727574" y="18825"/>
                    </a:cubicBezTo>
                    <a:cubicBezTo>
                      <a:pt x="812756" y="35296"/>
                      <a:pt x="887583" y="61651"/>
                      <a:pt x="951117" y="90359"/>
                    </a:cubicBezTo>
                    <a:cubicBezTo>
                      <a:pt x="974648" y="100712"/>
                      <a:pt x="995355" y="111066"/>
                      <a:pt x="1014650" y="121419"/>
                    </a:cubicBezTo>
                    <a:cubicBezTo>
                      <a:pt x="1018886" y="123302"/>
                      <a:pt x="1023592" y="125655"/>
                      <a:pt x="1027357" y="128008"/>
                    </a:cubicBezTo>
                    <a:cubicBezTo>
                      <a:pt x="1040534" y="135538"/>
                      <a:pt x="1053241" y="142597"/>
                      <a:pt x="1065006" y="150127"/>
                    </a:cubicBezTo>
                    <a:cubicBezTo>
                      <a:pt x="1073948" y="155774"/>
                      <a:pt x="1082419" y="160951"/>
                      <a:pt x="1090890" y="166598"/>
                    </a:cubicBezTo>
                    <a:cubicBezTo>
                      <a:pt x="1099832" y="172246"/>
                      <a:pt x="1108303" y="177893"/>
                      <a:pt x="1116774" y="183541"/>
                    </a:cubicBezTo>
                    <a:cubicBezTo>
                      <a:pt x="1097008" y="258839"/>
                      <a:pt x="1077713" y="333667"/>
                      <a:pt x="1058417" y="408495"/>
                    </a:cubicBezTo>
                    <a:cubicBezTo>
                      <a:pt x="1043358" y="464970"/>
                      <a:pt x="1028769" y="521444"/>
                      <a:pt x="1014180" y="578388"/>
                    </a:cubicBezTo>
                    <a:lnTo>
                      <a:pt x="1002884" y="622156"/>
                    </a:lnTo>
                    <a:cubicBezTo>
                      <a:pt x="999590" y="635804"/>
                      <a:pt x="995826" y="649451"/>
                      <a:pt x="992531" y="663570"/>
                    </a:cubicBezTo>
                    <a:lnTo>
                      <a:pt x="981236" y="707337"/>
                    </a:lnTo>
                    <a:cubicBezTo>
                      <a:pt x="969941" y="750163"/>
                      <a:pt x="959117" y="793460"/>
                      <a:pt x="947822" y="836286"/>
                    </a:cubicBezTo>
                    <a:cubicBezTo>
                      <a:pt x="916291" y="958176"/>
                      <a:pt x="884760" y="1080066"/>
                      <a:pt x="853228" y="1201956"/>
                    </a:cubicBezTo>
                    <a:cubicBezTo>
                      <a:pt x="866406" y="1212780"/>
                      <a:pt x="880524" y="1225016"/>
                      <a:pt x="896996" y="1240546"/>
                    </a:cubicBezTo>
                    <a:cubicBezTo>
                      <a:pt x="915350" y="1257959"/>
                      <a:pt x="936057" y="1279137"/>
                      <a:pt x="956764" y="1304079"/>
                    </a:cubicBezTo>
                    <a:cubicBezTo>
                      <a:pt x="973706" y="1324316"/>
                      <a:pt x="991119" y="1347376"/>
                      <a:pt x="1007120" y="1373260"/>
                    </a:cubicBezTo>
                    <a:cubicBezTo>
                      <a:pt x="1019356" y="1392085"/>
                      <a:pt x="1031122" y="1412321"/>
                      <a:pt x="1042416" y="1434440"/>
                    </a:cubicBezTo>
                    <a:cubicBezTo>
                      <a:pt x="1055594" y="1460324"/>
                      <a:pt x="1067830" y="1489032"/>
                      <a:pt x="1078184" y="1519622"/>
                    </a:cubicBezTo>
                    <a:cubicBezTo>
                      <a:pt x="1081948" y="1530917"/>
                      <a:pt x="1085713" y="1542212"/>
                      <a:pt x="1089007" y="1553506"/>
                    </a:cubicBezTo>
                    <a:cubicBezTo>
                      <a:pt x="1096538" y="1582684"/>
                      <a:pt x="1102655" y="1610451"/>
                      <a:pt x="1106420" y="1636805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íSḷïďê">
                <a:extLst>
                  <a:ext uri="{FF2B5EF4-FFF2-40B4-BE49-F238E27FC236}">
                    <a16:creationId xmlns:a16="http://schemas.microsoft.com/office/drawing/2014/main" id="{1F58EB67-B29F-4609-AE0A-5D3F6BD8E707}"/>
                  </a:ext>
                </a:extLst>
              </p:cNvPr>
              <p:cNvSpPr/>
              <p:nvPr/>
            </p:nvSpPr>
            <p:spPr>
              <a:xfrm>
                <a:off x="4518088" y="3900269"/>
                <a:ext cx="679570" cy="697924"/>
              </a:xfrm>
              <a:custGeom>
                <a:avLst/>
                <a:gdLst>
                  <a:gd name="connsiteX0" fmla="*/ 416496 w 679570"/>
                  <a:gd name="connsiteY0" fmla="*/ 697925 h 697924"/>
                  <a:gd name="connsiteX1" fmla="*/ 0 w 679570"/>
                  <a:gd name="connsiteY1" fmla="*/ 459322 h 697924"/>
                  <a:gd name="connsiteX2" fmla="*/ 304489 w 679570"/>
                  <a:gd name="connsiteY2" fmla="*/ 144950 h 697924"/>
                  <a:gd name="connsiteX3" fmla="*/ 562387 w 679570"/>
                  <a:gd name="connsiteY3" fmla="*/ 0 h 697924"/>
                  <a:gd name="connsiteX4" fmla="*/ 679571 w 679570"/>
                  <a:gd name="connsiteY4" fmla="*/ 391083 h 697924"/>
                  <a:gd name="connsiteX5" fmla="*/ 416496 w 679570"/>
                  <a:gd name="connsiteY5" fmla="*/ 697925 h 69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9570" h="697924">
                    <a:moveTo>
                      <a:pt x="416496" y="697925"/>
                    </a:moveTo>
                    <a:cubicBezTo>
                      <a:pt x="277664" y="618391"/>
                      <a:pt x="138832" y="538856"/>
                      <a:pt x="0" y="459322"/>
                    </a:cubicBezTo>
                    <a:cubicBezTo>
                      <a:pt x="59768" y="371787"/>
                      <a:pt x="156716" y="252251"/>
                      <a:pt x="304489" y="144950"/>
                    </a:cubicBezTo>
                    <a:cubicBezTo>
                      <a:pt x="398142" y="77181"/>
                      <a:pt x="488030" y="31061"/>
                      <a:pt x="562387" y="0"/>
                    </a:cubicBezTo>
                    <a:cubicBezTo>
                      <a:pt x="601448" y="130361"/>
                      <a:pt x="640510" y="260722"/>
                      <a:pt x="679571" y="391083"/>
                    </a:cubicBezTo>
                    <a:cubicBezTo>
                      <a:pt x="592036" y="493206"/>
                      <a:pt x="504501" y="595330"/>
                      <a:pt x="416496" y="697925"/>
                    </a:cubicBezTo>
                    <a:close/>
                  </a:path>
                </a:pathLst>
              </a:custGeom>
              <a:solidFill>
                <a:srgbClr val="011531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išļíde">
                <a:extLst>
                  <a:ext uri="{FF2B5EF4-FFF2-40B4-BE49-F238E27FC236}">
                    <a16:creationId xmlns:a16="http://schemas.microsoft.com/office/drawing/2014/main" id="{576BA60C-C61A-42DC-9F90-96E03959593C}"/>
                  </a:ext>
                </a:extLst>
              </p:cNvPr>
              <p:cNvSpPr/>
              <p:nvPr/>
            </p:nvSpPr>
            <p:spPr>
              <a:xfrm>
                <a:off x="5748281" y="3900269"/>
                <a:ext cx="679570" cy="697924"/>
              </a:xfrm>
              <a:custGeom>
                <a:avLst/>
                <a:gdLst>
                  <a:gd name="connsiteX0" fmla="*/ 263075 w 679570"/>
                  <a:gd name="connsiteY0" fmla="*/ 697925 h 697924"/>
                  <a:gd name="connsiteX1" fmla="*/ 679571 w 679570"/>
                  <a:gd name="connsiteY1" fmla="*/ 459322 h 697924"/>
                  <a:gd name="connsiteX2" fmla="*/ 375082 w 679570"/>
                  <a:gd name="connsiteY2" fmla="*/ 144950 h 697924"/>
                  <a:gd name="connsiteX3" fmla="*/ 117184 w 679570"/>
                  <a:gd name="connsiteY3" fmla="*/ 0 h 697924"/>
                  <a:gd name="connsiteX4" fmla="*/ 0 w 679570"/>
                  <a:gd name="connsiteY4" fmla="*/ 391083 h 697924"/>
                  <a:gd name="connsiteX5" fmla="*/ 263075 w 679570"/>
                  <a:gd name="connsiteY5" fmla="*/ 697925 h 69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9570" h="697924">
                    <a:moveTo>
                      <a:pt x="263075" y="697925"/>
                    </a:moveTo>
                    <a:cubicBezTo>
                      <a:pt x="401907" y="618391"/>
                      <a:pt x="540739" y="538856"/>
                      <a:pt x="679571" y="459322"/>
                    </a:cubicBezTo>
                    <a:cubicBezTo>
                      <a:pt x="619802" y="371787"/>
                      <a:pt x="522855" y="252251"/>
                      <a:pt x="375082" y="144950"/>
                    </a:cubicBezTo>
                    <a:cubicBezTo>
                      <a:pt x="281429" y="77181"/>
                      <a:pt x="191541" y="31061"/>
                      <a:pt x="117184" y="0"/>
                    </a:cubicBezTo>
                    <a:cubicBezTo>
                      <a:pt x="78123" y="130361"/>
                      <a:pt x="39061" y="260722"/>
                      <a:pt x="0" y="391083"/>
                    </a:cubicBezTo>
                    <a:cubicBezTo>
                      <a:pt x="87535" y="493206"/>
                      <a:pt x="175070" y="595330"/>
                      <a:pt x="263075" y="697925"/>
                    </a:cubicBezTo>
                    <a:close/>
                  </a:path>
                </a:pathLst>
              </a:custGeom>
              <a:solidFill>
                <a:srgbClr val="011531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i$1íḋè">
                <a:extLst>
                  <a:ext uri="{FF2B5EF4-FFF2-40B4-BE49-F238E27FC236}">
                    <a16:creationId xmlns:a16="http://schemas.microsoft.com/office/drawing/2014/main" id="{F568CD45-E540-4AF2-A482-F9F622D710EA}"/>
                  </a:ext>
                </a:extLst>
              </p:cNvPr>
              <p:cNvSpPr/>
              <p:nvPr/>
            </p:nvSpPr>
            <p:spPr>
              <a:xfrm>
                <a:off x="4913667" y="3900739"/>
                <a:ext cx="1114860" cy="1664571"/>
              </a:xfrm>
              <a:custGeom>
                <a:avLst/>
                <a:gdLst>
                  <a:gd name="connsiteX0" fmla="*/ 1114160 w 1114860"/>
                  <a:gd name="connsiteY0" fmla="*/ 1656571 h 1664571"/>
                  <a:gd name="connsiteX1" fmla="*/ 1113690 w 1114860"/>
                  <a:gd name="connsiteY1" fmla="*/ 1664572 h 1664571"/>
                  <a:gd name="connsiteX2" fmla="*/ 67038 w 1114860"/>
                  <a:gd name="connsiteY2" fmla="*/ 1664572 h 1664571"/>
                  <a:gd name="connsiteX3" fmla="*/ 210 w 1114860"/>
                  <a:gd name="connsiteY3" fmla="*/ 1652806 h 1664571"/>
                  <a:gd name="connsiteX4" fmla="*/ 12917 w 1114860"/>
                  <a:gd name="connsiteY4" fmla="*/ 1502680 h 1664571"/>
                  <a:gd name="connsiteX5" fmla="*/ 55272 w 1114860"/>
                  <a:gd name="connsiteY5" fmla="*/ 1361965 h 1664571"/>
                  <a:gd name="connsiteX6" fmla="*/ 81156 w 1114860"/>
                  <a:gd name="connsiteY6" fmla="*/ 1306903 h 1664571"/>
                  <a:gd name="connsiteX7" fmla="*/ 96216 w 1114860"/>
                  <a:gd name="connsiteY7" fmla="*/ 1280078 h 1664571"/>
                  <a:gd name="connsiteX8" fmla="*/ 188457 w 1114860"/>
                  <a:gd name="connsiteY8" fmla="*/ 1155364 h 1664571"/>
                  <a:gd name="connsiteX9" fmla="*/ 230342 w 1114860"/>
                  <a:gd name="connsiteY9" fmla="*/ 1113950 h 1664571"/>
                  <a:gd name="connsiteX10" fmla="*/ 232224 w 1114860"/>
                  <a:gd name="connsiteY10" fmla="*/ 1112068 h 1664571"/>
                  <a:gd name="connsiteX11" fmla="*/ 179986 w 1114860"/>
                  <a:gd name="connsiteY11" fmla="*/ 937940 h 1664571"/>
                  <a:gd name="connsiteX12" fmla="*/ 143748 w 1114860"/>
                  <a:gd name="connsiteY12" fmla="*/ 760517 h 1664571"/>
                  <a:gd name="connsiteX13" fmla="*/ 133865 w 1114860"/>
                  <a:gd name="connsiteY13" fmla="*/ 692277 h 1664571"/>
                  <a:gd name="connsiteX14" fmla="*/ 123512 w 1114860"/>
                  <a:gd name="connsiteY14" fmla="*/ 577918 h 1664571"/>
                  <a:gd name="connsiteX15" fmla="*/ 119747 w 1114860"/>
                  <a:gd name="connsiteY15" fmla="*/ 508737 h 1664571"/>
                  <a:gd name="connsiteX16" fmla="*/ 119276 w 1114860"/>
                  <a:gd name="connsiteY16" fmla="*/ 499325 h 1664571"/>
                  <a:gd name="connsiteX17" fmla="*/ 118805 w 1114860"/>
                  <a:gd name="connsiteY17" fmla="*/ 451792 h 1664571"/>
                  <a:gd name="connsiteX18" fmla="*/ 166338 w 1114860"/>
                  <a:gd name="connsiteY18" fmla="*/ 0 h 1664571"/>
                  <a:gd name="connsiteX19" fmla="*/ 300934 w 1114860"/>
                  <a:gd name="connsiteY19" fmla="*/ 86123 h 1664571"/>
                  <a:gd name="connsiteX20" fmla="*/ 373880 w 1114860"/>
                  <a:gd name="connsiteY20" fmla="*/ 115301 h 1664571"/>
                  <a:gd name="connsiteX21" fmla="*/ 394116 w 1114860"/>
                  <a:gd name="connsiteY21" fmla="*/ 121419 h 1664571"/>
                  <a:gd name="connsiteX22" fmla="*/ 453885 w 1114860"/>
                  <a:gd name="connsiteY22" fmla="*/ 135538 h 1664571"/>
                  <a:gd name="connsiteX23" fmla="*/ 475062 w 1114860"/>
                  <a:gd name="connsiteY23" fmla="*/ 138832 h 1664571"/>
                  <a:gd name="connsiteX24" fmla="*/ 506594 w 1114860"/>
                  <a:gd name="connsiteY24" fmla="*/ 142126 h 1664571"/>
                  <a:gd name="connsiteX25" fmla="*/ 535301 w 1114860"/>
                  <a:gd name="connsiteY25" fmla="*/ 144009 h 1664571"/>
                  <a:gd name="connsiteX26" fmla="*/ 551773 w 1114860"/>
                  <a:gd name="connsiteY26" fmla="*/ 144479 h 1664571"/>
                  <a:gd name="connsiteX27" fmla="*/ 710842 w 1114860"/>
                  <a:gd name="connsiteY27" fmla="*/ 124714 h 1664571"/>
                  <a:gd name="connsiteX28" fmla="*/ 909912 w 1114860"/>
                  <a:gd name="connsiteY28" fmla="*/ 31531 h 1664571"/>
                  <a:gd name="connsiteX29" fmla="*/ 950385 w 1114860"/>
                  <a:gd name="connsiteY29" fmla="*/ 471 h 1664571"/>
                  <a:gd name="connsiteX30" fmla="*/ 957915 w 1114860"/>
                  <a:gd name="connsiteY30" fmla="*/ 31531 h 1664571"/>
                  <a:gd name="connsiteX31" fmla="*/ 961210 w 1114860"/>
                  <a:gd name="connsiteY31" fmla="*/ 52709 h 1664571"/>
                  <a:gd name="connsiteX32" fmla="*/ 975328 w 1114860"/>
                  <a:gd name="connsiteY32" fmla="*/ 152480 h 1664571"/>
                  <a:gd name="connsiteX33" fmla="*/ 983799 w 1114860"/>
                  <a:gd name="connsiteY33" fmla="*/ 238603 h 1664571"/>
                  <a:gd name="connsiteX34" fmla="*/ 989447 w 1114860"/>
                  <a:gd name="connsiteY34" fmla="*/ 473441 h 1664571"/>
                  <a:gd name="connsiteX35" fmla="*/ 988976 w 1114860"/>
                  <a:gd name="connsiteY35" fmla="*/ 486147 h 1664571"/>
                  <a:gd name="connsiteX36" fmla="*/ 987564 w 1114860"/>
                  <a:gd name="connsiteY36" fmla="*/ 518149 h 1664571"/>
                  <a:gd name="connsiteX37" fmla="*/ 984741 w 1114860"/>
                  <a:gd name="connsiteY37" fmla="*/ 565211 h 1664571"/>
                  <a:gd name="connsiteX38" fmla="*/ 980505 w 1114860"/>
                  <a:gd name="connsiteY38" fmla="*/ 617449 h 1664571"/>
                  <a:gd name="connsiteX39" fmla="*/ 973446 w 1114860"/>
                  <a:gd name="connsiteY39" fmla="*/ 680041 h 1664571"/>
                  <a:gd name="connsiteX40" fmla="*/ 961680 w 1114860"/>
                  <a:gd name="connsiteY40" fmla="*/ 760046 h 1664571"/>
                  <a:gd name="connsiteX41" fmla="*/ 873675 w 1114860"/>
                  <a:gd name="connsiteY41" fmla="*/ 1106420 h 1664571"/>
                  <a:gd name="connsiteX42" fmla="*/ 881675 w 1114860"/>
                  <a:gd name="connsiteY42" fmla="*/ 1113009 h 1664571"/>
                  <a:gd name="connsiteX43" fmla="*/ 915089 w 1114860"/>
                  <a:gd name="connsiteY43" fmla="*/ 1143599 h 1664571"/>
                  <a:gd name="connsiteX44" fmla="*/ 965445 w 1114860"/>
                  <a:gd name="connsiteY44" fmla="*/ 1198661 h 1664571"/>
                  <a:gd name="connsiteX45" fmla="*/ 1011566 w 1114860"/>
                  <a:gd name="connsiteY45" fmla="*/ 1262195 h 1664571"/>
                  <a:gd name="connsiteX46" fmla="*/ 1017684 w 1114860"/>
                  <a:gd name="connsiteY46" fmla="*/ 1271607 h 1664571"/>
                  <a:gd name="connsiteX47" fmla="*/ 1052980 w 1114860"/>
                  <a:gd name="connsiteY47" fmla="*/ 1338434 h 1664571"/>
                  <a:gd name="connsiteX48" fmla="*/ 1096277 w 1114860"/>
                  <a:gd name="connsiteY48" fmla="*/ 1464089 h 1664571"/>
                  <a:gd name="connsiteX49" fmla="*/ 1110395 w 1114860"/>
                  <a:gd name="connsiteY49" fmla="*/ 1544565 h 1664571"/>
                  <a:gd name="connsiteX50" fmla="*/ 1114160 w 1114860"/>
                  <a:gd name="connsiteY50" fmla="*/ 1656571 h 1664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114860" h="1664571">
                    <a:moveTo>
                      <a:pt x="1114160" y="1656571"/>
                    </a:moveTo>
                    <a:cubicBezTo>
                      <a:pt x="1114160" y="1659395"/>
                      <a:pt x="1113690" y="1662219"/>
                      <a:pt x="1113690" y="1664572"/>
                    </a:cubicBezTo>
                    <a:lnTo>
                      <a:pt x="67038" y="1664572"/>
                    </a:lnTo>
                    <a:cubicBezTo>
                      <a:pt x="43507" y="1660336"/>
                      <a:pt x="21388" y="1656571"/>
                      <a:pt x="210" y="1652806"/>
                    </a:cubicBezTo>
                    <a:cubicBezTo>
                      <a:pt x="-731" y="1615628"/>
                      <a:pt x="1151" y="1563389"/>
                      <a:pt x="12917" y="1502680"/>
                    </a:cubicBezTo>
                    <a:cubicBezTo>
                      <a:pt x="20917" y="1459383"/>
                      <a:pt x="34565" y="1411851"/>
                      <a:pt x="55272" y="1361965"/>
                    </a:cubicBezTo>
                    <a:cubicBezTo>
                      <a:pt x="62802" y="1343611"/>
                      <a:pt x="71744" y="1325257"/>
                      <a:pt x="81156" y="1306903"/>
                    </a:cubicBezTo>
                    <a:cubicBezTo>
                      <a:pt x="86333" y="1297491"/>
                      <a:pt x="91039" y="1288549"/>
                      <a:pt x="96216" y="1280078"/>
                    </a:cubicBezTo>
                    <a:cubicBezTo>
                      <a:pt x="125865" y="1229251"/>
                      <a:pt x="158337" y="1187837"/>
                      <a:pt x="188457" y="1155364"/>
                    </a:cubicBezTo>
                    <a:cubicBezTo>
                      <a:pt x="203046" y="1139364"/>
                      <a:pt x="217164" y="1125716"/>
                      <a:pt x="230342" y="1113950"/>
                    </a:cubicBezTo>
                    <a:cubicBezTo>
                      <a:pt x="230812" y="1113480"/>
                      <a:pt x="231283" y="1113009"/>
                      <a:pt x="232224" y="1112068"/>
                    </a:cubicBezTo>
                    <a:cubicBezTo>
                      <a:pt x="213870" y="1059829"/>
                      <a:pt x="196457" y="1001473"/>
                      <a:pt x="179986" y="937940"/>
                    </a:cubicBezTo>
                    <a:cubicBezTo>
                      <a:pt x="165867" y="882877"/>
                      <a:pt x="153631" y="823580"/>
                      <a:pt x="143748" y="760517"/>
                    </a:cubicBezTo>
                    <a:cubicBezTo>
                      <a:pt x="139983" y="738398"/>
                      <a:pt x="136689" y="715338"/>
                      <a:pt x="133865" y="692277"/>
                    </a:cubicBezTo>
                    <a:cubicBezTo>
                      <a:pt x="129159" y="653216"/>
                      <a:pt x="125394" y="615096"/>
                      <a:pt x="123512" y="577918"/>
                    </a:cubicBezTo>
                    <a:cubicBezTo>
                      <a:pt x="121629" y="553916"/>
                      <a:pt x="120217" y="531327"/>
                      <a:pt x="119747" y="508737"/>
                    </a:cubicBezTo>
                    <a:cubicBezTo>
                      <a:pt x="119747" y="505443"/>
                      <a:pt x="119276" y="502148"/>
                      <a:pt x="119276" y="499325"/>
                    </a:cubicBezTo>
                    <a:cubicBezTo>
                      <a:pt x="118805" y="483324"/>
                      <a:pt x="118335" y="467323"/>
                      <a:pt x="118805" y="451792"/>
                    </a:cubicBezTo>
                    <a:cubicBezTo>
                      <a:pt x="117864" y="271546"/>
                      <a:pt x="140924" y="117654"/>
                      <a:pt x="166338" y="0"/>
                    </a:cubicBezTo>
                    <a:cubicBezTo>
                      <a:pt x="187515" y="17883"/>
                      <a:pt x="233636" y="54592"/>
                      <a:pt x="300934" y="86123"/>
                    </a:cubicBezTo>
                    <a:cubicBezTo>
                      <a:pt x="323053" y="96947"/>
                      <a:pt x="347525" y="106830"/>
                      <a:pt x="373880" y="115301"/>
                    </a:cubicBezTo>
                    <a:cubicBezTo>
                      <a:pt x="380468" y="117654"/>
                      <a:pt x="387057" y="119537"/>
                      <a:pt x="394116" y="121419"/>
                    </a:cubicBezTo>
                    <a:cubicBezTo>
                      <a:pt x="412941" y="127067"/>
                      <a:pt x="432707" y="131773"/>
                      <a:pt x="453885" y="135538"/>
                    </a:cubicBezTo>
                    <a:cubicBezTo>
                      <a:pt x="460473" y="136950"/>
                      <a:pt x="467533" y="138361"/>
                      <a:pt x="475062" y="138832"/>
                    </a:cubicBezTo>
                    <a:cubicBezTo>
                      <a:pt x="485416" y="140244"/>
                      <a:pt x="495769" y="141656"/>
                      <a:pt x="506594" y="142126"/>
                    </a:cubicBezTo>
                    <a:cubicBezTo>
                      <a:pt x="516006" y="143068"/>
                      <a:pt x="525418" y="144009"/>
                      <a:pt x="535301" y="144009"/>
                    </a:cubicBezTo>
                    <a:cubicBezTo>
                      <a:pt x="540478" y="144479"/>
                      <a:pt x="546125" y="144479"/>
                      <a:pt x="551773" y="144479"/>
                    </a:cubicBezTo>
                    <a:cubicBezTo>
                      <a:pt x="610129" y="145421"/>
                      <a:pt x="663309" y="136950"/>
                      <a:pt x="710842" y="124714"/>
                    </a:cubicBezTo>
                    <a:cubicBezTo>
                      <a:pt x="799317" y="101183"/>
                      <a:pt x="867557" y="61180"/>
                      <a:pt x="909912" y="31531"/>
                    </a:cubicBezTo>
                    <a:cubicBezTo>
                      <a:pt x="928737" y="17883"/>
                      <a:pt x="942385" y="7059"/>
                      <a:pt x="950385" y="471"/>
                    </a:cubicBezTo>
                    <a:cubicBezTo>
                      <a:pt x="953680" y="10824"/>
                      <a:pt x="955562" y="21178"/>
                      <a:pt x="957915" y="31531"/>
                    </a:cubicBezTo>
                    <a:cubicBezTo>
                      <a:pt x="958857" y="38591"/>
                      <a:pt x="960268" y="45650"/>
                      <a:pt x="961210" y="52709"/>
                    </a:cubicBezTo>
                    <a:cubicBezTo>
                      <a:pt x="966387" y="83770"/>
                      <a:pt x="971563" y="117184"/>
                      <a:pt x="975328" y="152480"/>
                    </a:cubicBezTo>
                    <a:cubicBezTo>
                      <a:pt x="978622" y="179776"/>
                      <a:pt x="981446" y="208483"/>
                      <a:pt x="983799" y="238603"/>
                    </a:cubicBezTo>
                    <a:cubicBezTo>
                      <a:pt x="989447" y="311078"/>
                      <a:pt x="991800" y="389671"/>
                      <a:pt x="989447" y="473441"/>
                    </a:cubicBezTo>
                    <a:cubicBezTo>
                      <a:pt x="988976" y="477676"/>
                      <a:pt x="988976" y="481912"/>
                      <a:pt x="988976" y="486147"/>
                    </a:cubicBezTo>
                    <a:cubicBezTo>
                      <a:pt x="988506" y="496501"/>
                      <a:pt x="988035" y="507325"/>
                      <a:pt x="987564" y="518149"/>
                    </a:cubicBezTo>
                    <a:cubicBezTo>
                      <a:pt x="987093" y="533680"/>
                      <a:pt x="985682" y="549210"/>
                      <a:pt x="984741" y="565211"/>
                    </a:cubicBezTo>
                    <a:cubicBezTo>
                      <a:pt x="983799" y="582624"/>
                      <a:pt x="981917" y="599566"/>
                      <a:pt x="980505" y="617449"/>
                    </a:cubicBezTo>
                    <a:cubicBezTo>
                      <a:pt x="978622" y="637686"/>
                      <a:pt x="976269" y="658864"/>
                      <a:pt x="973446" y="680041"/>
                    </a:cubicBezTo>
                    <a:cubicBezTo>
                      <a:pt x="970151" y="707337"/>
                      <a:pt x="965916" y="733692"/>
                      <a:pt x="961680" y="760046"/>
                    </a:cubicBezTo>
                    <a:cubicBezTo>
                      <a:pt x="939561" y="892760"/>
                      <a:pt x="907089" y="1009003"/>
                      <a:pt x="873675" y="1106420"/>
                    </a:cubicBezTo>
                    <a:cubicBezTo>
                      <a:pt x="876499" y="1108303"/>
                      <a:pt x="878852" y="1110656"/>
                      <a:pt x="881675" y="1113009"/>
                    </a:cubicBezTo>
                    <a:cubicBezTo>
                      <a:pt x="892029" y="1121951"/>
                      <a:pt x="903324" y="1131834"/>
                      <a:pt x="915089" y="1143599"/>
                    </a:cubicBezTo>
                    <a:cubicBezTo>
                      <a:pt x="931561" y="1159600"/>
                      <a:pt x="948503" y="1177954"/>
                      <a:pt x="965445" y="1198661"/>
                    </a:cubicBezTo>
                    <a:cubicBezTo>
                      <a:pt x="981446" y="1217486"/>
                      <a:pt x="996506" y="1239134"/>
                      <a:pt x="1011566" y="1262195"/>
                    </a:cubicBezTo>
                    <a:cubicBezTo>
                      <a:pt x="1013919" y="1265489"/>
                      <a:pt x="1015801" y="1268313"/>
                      <a:pt x="1017684" y="1271607"/>
                    </a:cubicBezTo>
                    <a:cubicBezTo>
                      <a:pt x="1031332" y="1294197"/>
                      <a:pt x="1043097" y="1316315"/>
                      <a:pt x="1052980" y="1338434"/>
                    </a:cubicBezTo>
                    <a:cubicBezTo>
                      <a:pt x="1073216" y="1381731"/>
                      <a:pt x="1086864" y="1424557"/>
                      <a:pt x="1096277" y="1464089"/>
                    </a:cubicBezTo>
                    <a:cubicBezTo>
                      <a:pt x="1102865" y="1492797"/>
                      <a:pt x="1107572" y="1520092"/>
                      <a:pt x="1110395" y="1544565"/>
                    </a:cubicBezTo>
                    <a:cubicBezTo>
                      <a:pt x="1115101" y="1590685"/>
                      <a:pt x="1115572" y="1628805"/>
                      <a:pt x="1114160" y="1656571"/>
                    </a:cubicBezTo>
                    <a:close/>
                  </a:path>
                </a:pathLst>
              </a:custGeom>
              <a:solidFill>
                <a:srgbClr val="011531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iŝḷiḋé">
                <a:extLst>
                  <a:ext uri="{FF2B5EF4-FFF2-40B4-BE49-F238E27FC236}">
                    <a16:creationId xmlns:a16="http://schemas.microsoft.com/office/drawing/2014/main" id="{FC9C0C44-7C95-4B8C-BBC6-18EE1F227F54}"/>
                  </a:ext>
                </a:extLst>
              </p:cNvPr>
              <p:cNvSpPr/>
              <p:nvPr/>
            </p:nvSpPr>
            <p:spPr>
              <a:xfrm>
                <a:off x="4231913" y="4365238"/>
                <a:ext cx="960569" cy="691208"/>
              </a:xfrm>
              <a:custGeom>
                <a:avLst/>
                <a:gdLst>
                  <a:gd name="connsiteX0" fmla="*/ 960570 w 960569"/>
                  <a:gd name="connsiteY0" fmla="*/ 161422 h 691208"/>
                  <a:gd name="connsiteX1" fmla="*/ 879153 w 960569"/>
                  <a:gd name="connsiteY1" fmla="*/ 0 h 691208"/>
                  <a:gd name="connsiteX2" fmla="*/ 40 w 960569"/>
                  <a:gd name="connsiteY2" fmla="*/ 502619 h 691208"/>
                  <a:gd name="connsiteX3" fmla="*/ 28278 w 960569"/>
                  <a:gd name="connsiteY3" fmla="*/ 606155 h 691208"/>
                  <a:gd name="connsiteX4" fmla="*/ 251821 w 960569"/>
                  <a:gd name="connsiteY4" fmla="*/ 687101 h 691208"/>
                  <a:gd name="connsiteX5" fmla="*/ 451833 w 960569"/>
                  <a:gd name="connsiteY5" fmla="*/ 578859 h 691208"/>
                  <a:gd name="connsiteX6" fmla="*/ 960570 w 960569"/>
                  <a:gd name="connsiteY6" fmla="*/ 161422 h 691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0569" h="691208">
                    <a:moveTo>
                      <a:pt x="960570" y="161422"/>
                    </a:moveTo>
                    <a:cubicBezTo>
                      <a:pt x="933274" y="107771"/>
                      <a:pt x="906449" y="53650"/>
                      <a:pt x="879153" y="0"/>
                    </a:cubicBezTo>
                    <a:cubicBezTo>
                      <a:pt x="585959" y="167540"/>
                      <a:pt x="292764" y="335079"/>
                      <a:pt x="40" y="502619"/>
                    </a:cubicBezTo>
                    <a:cubicBezTo>
                      <a:pt x="-430" y="526620"/>
                      <a:pt x="2864" y="567564"/>
                      <a:pt x="28278" y="606155"/>
                    </a:cubicBezTo>
                    <a:cubicBezTo>
                      <a:pt x="71104" y="671570"/>
                      <a:pt x="159109" y="703102"/>
                      <a:pt x="251821" y="687101"/>
                    </a:cubicBezTo>
                    <a:cubicBezTo>
                      <a:pt x="316295" y="656040"/>
                      <a:pt x="383593" y="620273"/>
                      <a:pt x="451833" y="578859"/>
                    </a:cubicBezTo>
                    <a:cubicBezTo>
                      <a:pt x="669258" y="446145"/>
                      <a:pt x="836327" y="296018"/>
                      <a:pt x="960570" y="161422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ïŝļîḋè">
                <a:extLst>
                  <a:ext uri="{FF2B5EF4-FFF2-40B4-BE49-F238E27FC236}">
                    <a16:creationId xmlns:a16="http://schemas.microsoft.com/office/drawing/2014/main" id="{4D47EC55-04CC-4AE4-86C9-45281109563D}"/>
                  </a:ext>
                </a:extLst>
              </p:cNvPr>
              <p:cNvSpPr/>
              <p:nvPr/>
            </p:nvSpPr>
            <p:spPr>
              <a:xfrm>
                <a:off x="5740751" y="4354414"/>
                <a:ext cx="960569" cy="701561"/>
              </a:xfrm>
              <a:custGeom>
                <a:avLst/>
                <a:gdLst>
                  <a:gd name="connsiteX0" fmla="*/ 0 w 960569"/>
                  <a:gd name="connsiteY0" fmla="*/ 172246 h 701561"/>
                  <a:gd name="connsiteX1" fmla="*/ 129890 w 960569"/>
                  <a:gd name="connsiteY1" fmla="*/ 0 h 701561"/>
                  <a:gd name="connsiteX2" fmla="*/ 960529 w 960569"/>
                  <a:gd name="connsiteY2" fmla="*/ 512972 h 701561"/>
                  <a:gd name="connsiteX3" fmla="*/ 932292 w 960569"/>
                  <a:gd name="connsiteY3" fmla="*/ 616508 h 701561"/>
                  <a:gd name="connsiteX4" fmla="*/ 708749 w 960569"/>
                  <a:gd name="connsiteY4" fmla="*/ 697454 h 701561"/>
                  <a:gd name="connsiteX5" fmla="*/ 508737 w 960569"/>
                  <a:gd name="connsiteY5" fmla="*/ 589212 h 701561"/>
                  <a:gd name="connsiteX6" fmla="*/ 0 w 960569"/>
                  <a:gd name="connsiteY6" fmla="*/ 172246 h 701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60569" h="701561">
                    <a:moveTo>
                      <a:pt x="0" y="172246"/>
                    </a:moveTo>
                    <a:cubicBezTo>
                      <a:pt x="43297" y="114831"/>
                      <a:pt x="86593" y="57415"/>
                      <a:pt x="129890" y="0"/>
                    </a:cubicBezTo>
                    <a:cubicBezTo>
                      <a:pt x="406613" y="170834"/>
                      <a:pt x="683806" y="342138"/>
                      <a:pt x="960529" y="512972"/>
                    </a:cubicBezTo>
                    <a:cubicBezTo>
                      <a:pt x="961000" y="536974"/>
                      <a:pt x="957705" y="577918"/>
                      <a:pt x="932292" y="616508"/>
                    </a:cubicBezTo>
                    <a:cubicBezTo>
                      <a:pt x="889466" y="681924"/>
                      <a:pt x="801461" y="713455"/>
                      <a:pt x="708749" y="697454"/>
                    </a:cubicBezTo>
                    <a:cubicBezTo>
                      <a:pt x="644274" y="666393"/>
                      <a:pt x="576976" y="630627"/>
                      <a:pt x="508737" y="589212"/>
                    </a:cubicBezTo>
                    <a:cubicBezTo>
                      <a:pt x="291312" y="456969"/>
                      <a:pt x="124243" y="306842"/>
                      <a:pt x="0" y="172246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9" name="íṣ1íḍé">
                <a:extLst>
                  <a:ext uri="{FF2B5EF4-FFF2-40B4-BE49-F238E27FC236}">
                    <a16:creationId xmlns:a16="http://schemas.microsoft.com/office/drawing/2014/main" id="{82E00C60-8E94-4109-9C2D-C3B0D7E53FD1}"/>
                  </a:ext>
                </a:extLst>
              </p:cNvPr>
              <p:cNvGrpSpPr/>
              <p:nvPr/>
            </p:nvGrpSpPr>
            <p:grpSpPr>
              <a:xfrm>
                <a:off x="5077032" y="3932271"/>
                <a:ext cx="927410" cy="1081948"/>
                <a:chOff x="5077032" y="3932271"/>
                <a:chExt cx="927410" cy="1081948"/>
              </a:xfrm>
            </p:grpSpPr>
            <p:grpSp>
              <p:nvGrpSpPr>
                <p:cNvPr id="101" name="îşľiḋé">
                  <a:extLst>
                    <a:ext uri="{FF2B5EF4-FFF2-40B4-BE49-F238E27FC236}">
                      <a16:creationId xmlns:a16="http://schemas.microsoft.com/office/drawing/2014/main" id="{54C7122D-6589-48CC-A406-D1CBAA4AE506}"/>
                    </a:ext>
                  </a:extLst>
                </p:cNvPr>
                <p:cNvGrpSpPr/>
                <p:nvPr/>
              </p:nvGrpSpPr>
              <p:grpSpPr>
                <a:xfrm>
                  <a:off x="5077032" y="3932271"/>
                  <a:ext cx="927410" cy="1081948"/>
                  <a:chOff x="5077032" y="3932271"/>
                  <a:chExt cx="927410" cy="1081948"/>
                </a:xfrm>
              </p:grpSpPr>
              <p:sp>
                <p:nvSpPr>
                  <p:cNvPr id="103" name="íṩļidé">
                    <a:extLst>
                      <a:ext uri="{FF2B5EF4-FFF2-40B4-BE49-F238E27FC236}">
                        <a16:creationId xmlns:a16="http://schemas.microsoft.com/office/drawing/2014/main" id="{34F670D7-FA29-4599-BEF8-BE4A663364D3}"/>
                      </a:ext>
                    </a:extLst>
                  </p:cNvPr>
                  <p:cNvSpPr/>
                  <p:nvPr/>
                </p:nvSpPr>
                <p:spPr>
                  <a:xfrm>
                    <a:off x="5077032" y="3932741"/>
                    <a:ext cx="927410" cy="1081477"/>
                  </a:xfrm>
                  <a:custGeom>
                    <a:avLst/>
                    <a:gdLst>
                      <a:gd name="connsiteX0" fmla="*/ 926794 w 927410"/>
                      <a:gd name="connsiteY0" fmla="*/ 58827 h 1081477"/>
                      <a:gd name="connsiteX1" fmla="*/ 790315 w 927410"/>
                      <a:gd name="connsiteY1" fmla="*/ 1022650 h 1081477"/>
                      <a:gd name="connsiteX2" fmla="*/ 723017 w 927410"/>
                      <a:gd name="connsiteY2" fmla="*/ 1081478 h 1081477"/>
                      <a:gd name="connsiteX3" fmla="*/ 50976 w 927410"/>
                      <a:gd name="connsiteY3" fmla="*/ 1081478 h 1081477"/>
                      <a:gd name="connsiteX4" fmla="*/ 620 w 927410"/>
                      <a:gd name="connsiteY4" fmla="*/ 1022650 h 1081477"/>
                      <a:gd name="connsiteX5" fmla="*/ 137099 w 927410"/>
                      <a:gd name="connsiteY5" fmla="*/ 58827 h 1081477"/>
                      <a:gd name="connsiteX6" fmla="*/ 204397 w 927410"/>
                      <a:gd name="connsiteY6" fmla="*/ 0 h 1081477"/>
                      <a:gd name="connsiteX7" fmla="*/ 876438 w 927410"/>
                      <a:gd name="connsiteY7" fmla="*/ 0 h 1081477"/>
                      <a:gd name="connsiteX8" fmla="*/ 909381 w 927410"/>
                      <a:gd name="connsiteY8" fmla="*/ 11295 h 1081477"/>
                      <a:gd name="connsiteX9" fmla="*/ 926794 w 927410"/>
                      <a:gd name="connsiteY9" fmla="*/ 58827 h 10814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27410" h="1081477">
                        <a:moveTo>
                          <a:pt x="926794" y="58827"/>
                        </a:moveTo>
                        <a:lnTo>
                          <a:pt x="790315" y="1022650"/>
                        </a:lnTo>
                        <a:cubicBezTo>
                          <a:pt x="785609" y="1055123"/>
                          <a:pt x="755490" y="1081478"/>
                          <a:pt x="723017" y="1081478"/>
                        </a:cubicBezTo>
                        <a:lnTo>
                          <a:pt x="50976" y="1081478"/>
                        </a:lnTo>
                        <a:cubicBezTo>
                          <a:pt x="18504" y="1081478"/>
                          <a:pt x="-4086" y="1055123"/>
                          <a:pt x="620" y="1022650"/>
                        </a:cubicBezTo>
                        <a:lnTo>
                          <a:pt x="137099" y="58827"/>
                        </a:lnTo>
                        <a:cubicBezTo>
                          <a:pt x="141805" y="26355"/>
                          <a:pt x="171925" y="0"/>
                          <a:pt x="204397" y="0"/>
                        </a:cubicBezTo>
                        <a:lnTo>
                          <a:pt x="876438" y="0"/>
                        </a:lnTo>
                        <a:cubicBezTo>
                          <a:pt x="889145" y="0"/>
                          <a:pt x="900910" y="4236"/>
                          <a:pt x="909381" y="11295"/>
                        </a:cubicBezTo>
                        <a:cubicBezTo>
                          <a:pt x="922559" y="21648"/>
                          <a:pt x="929618" y="39061"/>
                          <a:pt x="926794" y="5882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4701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grpSp>
                <p:nvGrpSpPr>
                  <p:cNvPr id="104" name="îṧ1íḍê">
                    <a:extLst>
                      <a:ext uri="{FF2B5EF4-FFF2-40B4-BE49-F238E27FC236}">
                        <a16:creationId xmlns:a16="http://schemas.microsoft.com/office/drawing/2014/main" id="{B4CAC847-858F-4249-83A8-9E9EFB210888}"/>
                      </a:ext>
                    </a:extLst>
                  </p:cNvPr>
                  <p:cNvGrpSpPr/>
                  <p:nvPr/>
                </p:nvGrpSpPr>
                <p:grpSpPr>
                  <a:xfrm>
                    <a:off x="5263314" y="3996745"/>
                    <a:ext cx="126577" cy="125184"/>
                    <a:chOff x="5263314" y="3996745"/>
                    <a:chExt cx="126577" cy="125184"/>
                  </a:xfrm>
                </p:grpSpPr>
                <p:sp>
                  <p:nvSpPr>
                    <p:cNvPr id="109" name="îṩḻiďe">
                      <a:extLst>
                        <a:ext uri="{FF2B5EF4-FFF2-40B4-BE49-F238E27FC236}">
                          <a16:creationId xmlns:a16="http://schemas.microsoft.com/office/drawing/2014/main" id="{10CEFF13-24A4-4FAF-9357-97C5EC7797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63314" y="3996745"/>
                      <a:ext cx="126577" cy="125184"/>
                    </a:xfrm>
                    <a:custGeom>
                      <a:avLst/>
                      <a:gdLst>
                        <a:gd name="connsiteX0" fmla="*/ 125886 w 126577"/>
                        <a:gd name="connsiteY0" fmla="*/ 62592 h 125184"/>
                        <a:gd name="connsiteX1" fmla="*/ 54353 w 126577"/>
                        <a:gd name="connsiteY1" fmla="*/ 125184 h 125184"/>
                        <a:gd name="connsiteX2" fmla="*/ 702 w 126577"/>
                        <a:gd name="connsiteY2" fmla="*/ 62592 h 125184"/>
                        <a:gd name="connsiteX3" fmla="*/ 72236 w 126577"/>
                        <a:gd name="connsiteY3" fmla="*/ 0 h 125184"/>
                        <a:gd name="connsiteX4" fmla="*/ 125886 w 126577"/>
                        <a:gd name="connsiteY4" fmla="*/ 62592 h 125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26577" h="125184">
                          <a:moveTo>
                            <a:pt x="125886" y="62592"/>
                          </a:moveTo>
                          <a:cubicBezTo>
                            <a:pt x="121180" y="97418"/>
                            <a:pt x="88708" y="125184"/>
                            <a:pt x="54353" y="125184"/>
                          </a:cubicBezTo>
                          <a:cubicBezTo>
                            <a:pt x="19527" y="125184"/>
                            <a:pt x="-4474" y="96947"/>
                            <a:pt x="702" y="62592"/>
                          </a:cubicBezTo>
                          <a:cubicBezTo>
                            <a:pt x="5408" y="27766"/>
                            <a:pt x="37881" y="0"/>
                            <a:pt x="72236" y="0"/>
                          </a:cubicBezTo>
                          <a:cubicBezTo>
                            <a:pt x="106591" y="0"/>
                            <a:pt x="131063" y="28237"/>
                            <a:pt x="125886" y="62592"/>
                          </a:cubicBezTo>
                          <a:close/>
                        </a:path>
                      </a:pathLst>
                    </a:custGeom>
                    <a:solidFill>
                      <a:srgbClr val="5582FF"/>
                    </a:solidFill>
                    <a:ln w="4701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0" name="íṥļíďé">
                      <a:extLst>
                        <a:ext uri="{FF2B5EF4-FFF2-40B4-BE49-F238E27FC236}">
                          <a16:creationId xmlns:a16="http://schemas.microsoft.com/office/drawing/2014/main" id="{22864E05-AB60-4682-A690-C59A7FC8BC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1858" y="4014628"/>
                      <a:ext cx="89868" cy="89417"/>
                    </a:xfrm>
                    <a:custGeom>
                      <a:avLst/>
                      <a:gdLst>
                        <a:gd name="connsiteX0" fmla="*/ 89459 w 89868"/>
                        <a:gd name="connsiteY0" fmla="*/ 44708 h 89417"/>
                        <a:gd name="connsiteX1" fmla="*/ 38632 w 89868"/>
                        <a:gd name="connsiteY1" fmla="*/ 89417 h 89417"/>
                        <a:gd name="connsiteX2" fmla="*/ 512 w 89868"/>
                        <a:gd name="connsiteY2" fmla="*/ 44708 h 89417"/>
                        <a:gd name="connsiteX3" fmla="*/ 51339 w 89868"/>
                        <a:gd name="connsiteY3" fmla="*/ 0 h 89417"/>
                        <a:gd name="connsiteX4" fmla="*/ 89459 w 89868"/>
                        <a:gd name="connsiteY4" fmla="*/ 44708 h 894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9868" h="89417">
                          <a:moveTo>
                            <a:pt x="89459" y="44708"/>
                          </a:moveTo>
                          <a:cubicBezTo>
                            <a:pt x="86165" y="69181"/>
                            <a:pt x="63104" y="89417"/>
                            <a:pt x="38632" y="89417"/>
                          </a:cubicBezTo>
                          <a:cubicBezTo>
                            <a:pt x="14160" y="89417"/>
                            <a:pt x="-3253" y="69651"/>
                            <a:pt x="512" y="44708"/>
                          </a:cubicBezTo>
                          <a:cubicBezTo>
                            <a:pt x="3807" y="20237"/>
                            <a:pt x="26867" y="0"/>
                            <a:pt x="51339" y="0"/>
                          </a:cubicBezTo>
                          <a:cubicBezTo>
                            <a:pt x="75811" y="471"/>
                            <a:pt x="92753" y="20237"/>
                            <a:pt x="89459" y="44708"/>
                          </a:cubicBezTo>
                          <a:close/>
                        </a:path>
                      </a:pathLst>
                    </a:custGeom>
                    <a:solidFill>
                      <a:srgbClr val="011531"/>
                    </a:solidFill>
                    <a:ln w="4701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105" name="ïṣḷíḓè">
                    <a:extLst>
                      <a:ext uri="{FF2B5EF4-FFF2-40B4-BE49-F238E27FC236}">
                        <a16:creationId xmlns:a16="http://schemas.microsoft.com/office/drawing/2014/main" id="{1A3B3D09-A6FC-4A65-A6E4-BDC07ACB183C}"/>
                      </a:ext>
                    </a:extLst>
                  </p:cNvPr>
                  <p:cNvSpPr/>
                  <p:nvPr/>
                </p:nvSpPr>
                <p:spPr>
                  <a:xfrm>
                    <a:off x="5486069" y="4418888"/>
                    <a:ext cx="109801" cy="109183"/>
                  </a:xfrm>
                  <a:custGeom>
                    <a:avLst/>
                    <a:gdLst>
                      <a:gd name="connsiteX0" fmla="*/ 109262 w 109801"/>
                      <a:gd name="connsiteY0" fmla="*/ 54592 h 109183"/>
                      <a:gd name="connsiteX1" fmla="*/ 47140 w 109801"/>
                      <a:gd name="connsiteY1" fmla="*/ 109183 h 109183"/>
                      <a:gd name="connsiteX2" fmla="*/ 549 w 109801"/>
                      <a:gd name="connsiteY2" fmla="*/ 54592 h 109183"/>
                      <a:gd name="connsiteX3" fmla="*/ 62671 w 109801"/>
                      <a:gd name="connsiteY3" fmla="*/ 0 h 109183"/>
                      <a:gd name="connsiteX4" fmla="*/ 109262 w 109801"/>
                      <a:gd name="connsiteY4" fmla="*/ 54592 h 1091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9801" h="109183">
                        <a:moveTo>
                          <a:pt x="109262" y="54592"/>
                        </a:moveTo>
                        <a:cubicBezTo>
                          <a:pt x="105026" y="84711"/>
                          <a:pt x="77260" y="109183"/>
                          <a:pt x="47140" y="109183"/>
                        </a:cubicBezTo>
                        <a:cubicBezTo>
                          <a:pt x="17021" y="109183"/>
                          <a:pt x="-3686" y="84711"/>
                          <a:pt x="549" y="54592"/>
                        </a:cubicBezTo>
                        <a:cubicBezTo>
                          <a:pt x="4785" y="24472"/>
                          <a:pt x="32551" y="0"/>
                          <a:pt x="62671" y="0"/>
                        </a:cubicBezTo>
                        <a:cubicBezTo>
                          <a:pt x="92319" y="0"/>
                          <a:pt x="113497" y="24472"/>
                          <a:pt x="109262" y="54592"/>
                        </a:cubicBezTo>
                        <a:close/>
                      </a:path>
                    </a:pathLst>
                  </a:custGeom>
                  <a:solidFill>
                    <a:srgbClr val="BEE1E6"/>
                  </a:solidFill>
                  <a:ln w="4701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grpSp>
                <p:nvGrpSpPr>
                  <p:cNvPr id="106" name="iSľiḓé">
                    <a:extLst>
                      <a:ext uri="{FF2B5EF4-FFF2-40B4-BE49-F238E27FC236}">
                        <a16:creationId xmlns:a16="http://schemas.microsoft.com/office/drawing/2014/main" id="{FCDEB7CC-3706-4028-88F4-0E0E3ACC2869}"/>
                      </a:ext>
                    </a:extLst>
                  </p:cNvPr>
                  <p:cNvGrpSpPr/>
                  <p:nvPr/>
                </p:nvGrpSpPr>
                <p:grpSpPr>
                  <a:xfrm>
                    <a:off x="5177422" y="3932271"/>
                    <a:ext cx="808990" cy="1081477"/>
                    <a:chOff x="5177422" y="3932271"/>
                    <a:chExt cx="808990" cy="1081477"/>
                  </a:xfrm>
                  <a:solidFill>
                    <a:srgbClr val="A2ADFB">
                      <a:alpha val="15000"/>
                    </a:srgbClr>
                  </a:solidFill>
                </p:grpSpPr>
                <p:sp>
                  <p:nvSpPr>
                    <p:cNvPr id="107" name="ïšļïďè">
                      <a:extLst>
                        <a:ext uri="{FF2B5EF4-FFF2-40B4-BE49-F238E27FC236}">
                          <a16:creationId xmlns:a16="http://schemas.microsoft.com/office/drawing/2014/main" id="{C1987CC3-3446-4C07-87F7-525259968E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77422" y="3932741"/>
                      <a:ext cx="706866" cy="1081006"/>
                    </a:xfrm>
                    <a:custGeom>
                      <a:avLst/>
                      <a:gdLst>
                        <a:gd name="connsiteX0" fmla="*/ 706867 w 706866"/>
                        <a:gd name="connsiteY0" fmla="*/ 0 h 1081006"/>
                        <a:gd name="connsiteX1" fmla="*/ 217896 w 706866"/>
                        <a:gd name="connsiteY1" fmla="*/ 1081007 h 1081006"/>
                        <a:gd name="connsiteX2" fmla="*/ 0 w 706866"/>
                        <a:gd name="connsiteY2" fmla="*/ 1081007 h 1081006"/>
                        <a:gd name="connsiteX3" fmla="*/ 488971 w 706866"/>
                        <a:gd name="connsiteY3" fmla="*/ 0 h 10810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706866" h="1081006">
                          <a:moveTo>
                            <a:pt x="706867" y="0"/>
                          </a:moveTo>
                          <a:lnTo>
                            <a:pt x="217896" y="1081007"/>
                          </a:lnTo>
                          <a:lnTo>
                            <a:pt x="0" y="1081007"/>
                          </a:lnTo>
                          <a:lnTo>
                            <a:pt x="488971" y="0"/>
                          </a:lnTo>
                          <a:close/>
                        </a:path>
                      </a:pathLst>
                    </a:custGeom>
                    <a:solidFill>
                      <a:srgbClr val="A2ADFB">
                        <a:alpha val="15000"/>
                      </a:srgbClr>
                    </a:solidFill>
                    <a:ln w="4701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8" name="işlíḓê">
                      <a:extLst>
                        <a:ext uri="{FF2B5EF4-FFF2-40B4-BE49-F238E27FC236}">
                          <a16:creationId xmlns:a16="http://schemas.microsoft.com/office/drawing/2014/main" id="{316BD953-61DE-46B1-81D2-7BE7F4B4FB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454616" y="3932271"/>
                      <a:ext cx="531796" cy="1081477"/>
                    </a:xfrm>
                    <a:custGeom>
                      <a:avLst/>
                      <a:gdLst>
                        <a:gd name="connsiteX0" fmla="*/ 531797 w 531796"/>
                        <a:gd name="connsiteY0" fmla="*/ 11765 h 1081477"/>
                        <a:gd name="connsiteX1" fmla="*/ 47532 w 531796"/>
                        <a:gd name="connsiteY1" fmla="*/ 1081477 h 1081477"/>
                        <a:gd name="connsiteX2" fmla="*/ 0 w 531796"/>
                        <a:gd name="connsiteY2" fmla="*/ 1081477 h 1081477"/>
                        <a:gd name="connsiteX3" fmla="*/ 488971 w 531796"/>
                        <a:gd name="connsiteY3" fmla="*/ 0 h 1081477"/>
                        <a:gd name="connsiteX4" fmla="*/ 498383 w 531796"/>
                        <a:gd name="connsiteY4" fmla="*/ 0 h 1081477"/>
                        <a:gd name="connsiteX5" fmla="*/ 531797 w 531796"/>
                        <a:gd name="connsiteY5" fmla="*/ 11765 h 108147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531796" h="1081477">
                          <a:moveTo>
                            <a:pt x="531797" y="11765"/>
                          </a:moveTo>
                          <a:lnTo>
                            <a:pt x="47532" y="1081477"/>
                          </a:lnTo>
                          <a:lnTo>
                            <a:pt x="0" y="1081477"/>
                          </a:lnTo>
                          <a:lnTo>
                            <a:pt x="488971" y="0"/>
                          </a:lnTo>
                          <a:lnTo>
                            <a:pt x="498383" y="0"/>
                          </a:lnTo>
                          <a:cubicBezTo>
                            <a:pt x="511560" y="471"/>
                            <a:pt x="522855" y="4706"/>
                            <a:pt x="531797" y="11765"/>
                          </a:cubicBezTo>
                          <a:close/>
                        </a:path>
                      </a:pathLst>
                    </a:custGeom>
                    <a:solidFill>
                      <a:srgbClr val="A2ADFB">
                        <a:alpha val="15000"/>
                      </a:srgbClr>
                    </a:solidFill>
                    <a:ln w="4701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</p:grpSp>
            <p:sp>
              <p:nvSpPr>
                <p:cNvPr id="102" name="îṥḻiḓé">
                  <a:extLst>
                    <a:ext uri="{FF2B5EF4-FFF2-40B4-BE49-F238E27FC236}">
                      <a16:creationId xmlns:a16="http://schemas.microsoft.com/office/drawing/2014/main" id="{30D6556C-2A78-461A-A23E-C502479D83E2}"/>
                    </a:ext>
                  </a:extLst>
                </p:cNvPr>
                <p:cNvSpPr/>
                <p:nvPr/>
              </p:nvSpPr>
              <p:spPr>
                <a:xfrm>
                  <a:off x="5412868" y="4032028"/>
                  <a:ext cx="54204" cy="53663"/>
                </a:xfrm>
                <a:custGeom>
                  <a:avLst/>
                  <a:gdLst>
                    <a:gd name="connsiteX0" fmla="*/ 53984 w 54204"/>
                    <a:gd name="connsiteY0" fmla="*/ 26838 h 53663"/>
                    <a:gd name="connsiteX1" fmla="*/ 23394 w 54204"/>
                    <a:gd name="connsiteY1" fmla="*/ 53663 h 53663"/>
                    <a:gd name="connsiteX2" fmla="*/ 333 w 54204"/>
                    <a:gd name="connsiteY2" fmla="*/ 26838 h 53663"/>
                    <a:gd name="connsiteX3" fmla="*/ 30923 w 54204"/>
                    <a:gd name="connsiteY3" fmla="*/ 13 h 53663"/>
                    <a:gd name="connsiteX4" fmla="*/ 53984 w 54204"/>
                    <a:gd name="connsiteY4" fmla="*/ 26838 h 53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204" h="53663">
                      <a:moveTo>
                        <a:pt x="53984" y="26838"/>
                      </a:moveTo>
                      <a:cubicBezTo>
                        <a:pt x="52101" y="41898"/>
                        <a:pt x="37983" y="53663"/>
                        <a:pt x="23394" y="53663"/>
                      </a:cubicBezTo>
                      <a:cubicBezTo>
                        <a:pt x="8334" y="53663"/>
                        <a:pt x="-2020" y="41427"/>
                        <a:pt x="333" y="26838"/>
                      </a:cubicBezTo>
                      <a:cubicBezTo>
                        <a:pt x="2216" y="11779"/>
                        <a:pt x="16334" y="13"/>
                        <a:pt x="30923" y="13"/>
                      </a:cubicBezTo>
                      <a:cubicBezTo>
                        <a:pt x="45513" y="-457"/>
                        <a:pt x="55866" y="11779"/>
                        <a:pt x="53984" y="26838"/>
                      </a:cubicBezTo>
                      <a:close/>
                    </a:path>
                  </a:pathLst>
                </a:custGeom>
                <a:solidFill>
                  <a:srgbClr val="BEE1E6"/>
                </a:solidFill>
                <a:ln w="4701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80" name="ïSļidè">
                <a:extLst>
                  <a:ext uri="{FF2B5EF4-FFF2-40B4-BE49-F238E27FC236}">
                    <a16:creationId xmlns:a16="http://schemas.microsoft.com/office/drawing/2014/main" id="{642AB53A-90D2-4760-A156-220AB393E735}"/>
                  </a:ext>
                </a:extLst>
              </p:cNvPr>
              <p:cNvSpPr/>
              <p:nvPr/>
            </p:nvSpPr>
            <p:spPr>
              <a:xfrm>
                <a:off x="5072038" y="4250709"/>
                <a:ext cx="370423" cy="368661"/>
              </a:xfrm>
              <a:custGeom>
                <a:avLst/>
                <a:gdLst>
                  <a:gd name="connsiteX0" fmla="*/ 45617 w 370423"/>
                  <a:gd name="connsiteY0" fmla="*/ 368662 h 368661"/>
                  <a:gd name="connsiteX1" fmla="*/ 2791 w 370423"/>
                  <a:gd name="connsiteY1" fmla="*/ 245831 h 368661"/>
                  <a:gd name="connsiteX2" fmla="*/ 17850 w 370423"/>
                  <a:gd name="connsiteY2" fmla="*/ 95704 h 368661"/>
                  <a:gd name="connsiteX3" fmla="*/ 191978 w 370423"/>
                  <a:gd name="connsiteY3" fmla="*/ 23229 h 368661"/>
                  <a:gd name="connsiteX4" fmla="*/ 311515 w 370423"/>
                  <a:gd name="connsiteY4" fmla="*/ 9110 h 368661"/>
                  <a:gd name="connsiteX5" fmla="*/ 325163 w 370423"/>
                  <a:gd name="connsiteY5" fmla="*/ 24170 h 368661"/>
                  <a:gd name="connsiteX6" fmla="*/ 122798 w 370423"/>
                  <a:gd name="connsiteY6" fmla="*/ 117823 h 368661"/>
                  <a:gd name="connsiteX7" fmla="*/ 311515 w 370423"/>
                  <a:gd name="connsiteY7" fmla="*/ 53348 h 368661"/>
                  <a:gd name="connsiteX8" fmla="*/ 360930 w 370423"/>
                  <a:gd name="connsiteY8" fmla="*/ 56643 h 368661"/>
                  <a:gd name="connsiteX9" fmla="*/ 367519 w 370423"/>
                  <a:gd name="connsiteY9" fmla="*/ 77820 h 368661"/>
                  <a:gd name="connsiteX10" fmla="*/ 303044 w 370423"/>
                  <a:gd name="connsiteY10" fmla="*/ 128647 h 368661"/>
                  <a:gd name="connsiteX11" fmla="*/ 160918 w 370423"/>
                  <a:gd name="connsiteY11" fmla="*/ 177591 h 368661"/>
                  <a:gd name="connsiteX12" fmla="*/ 252688 w 370423"/>
                  <a:gd name="connsiteY12" fmla="*/ 168179 h 368661"/>
                  <a:gd name="connsiteX13" fmla="*/ 365636 w 370423"/>
                  <a:gd name="connsiteY13" fmla="*/ 186062 h 368661"/>
                  <a:gd name="connsiteX14" fmla="*/ 361401 w 370423"/>
                  <a:gd name="connsiteY14" fmla="*/ 212417 h 368661"/>
                  <a:gd name="connsiteX15" fmla="*/ 370342 w 370423"/>
                  <a:gd name="connsiteY15" fmla="*/ 223712 h 368661"/>
                  <a:gd name="connsiteX16" fmla="*/ 45617 w 370423"/>
                  <a:gd name="connsiteY16" fmla="*/ 368662 h 368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0423" h="368661">
                    <a:moveTo>
                      <a:pt x="45617" y="368662"/>
                    </a:moveTo>
                    <a:cubicBezTo>
                      <a:pt x="31028" y="344190"/>
                      <a:pt x="10320" y="302305"/>
                      <a:pt x="2791" y="245831"/>
                    </a:cubicBezTo>
                    <a:cubicBezTo>
                      <a:pt x="-6151" y="178062"/>
                      <a:pt x="8438" y="123941"/>
                      <a:pt x="17850" y="95704"/>
                    </a:cubicBezTo>
                    <a:cubicBezTo>
                      <a:pt x="62088" y="76879"/>
                      <a:pt x="120445" y="51937"/>
                      <a:pt x="191978" y="23229"/>
                    </a:cubicBezTo>
                    <a:cubicBezTo>
                      <a:pt x="234334" y="6287"/>
                      <a:pt x="279043" y="-11126"/>
                      <a:pt x="311515" y="9110"/>
                    </a:cubicBezTo>
                    <a:cubicBezTo>
                      <a:pt x="317163" y="12875"/>
                      <a:pt x="324692" y="17111"/>
                      <a:pt x="325163" y="24170"/>
                    </a:cubicBezTo>
                    <a:cubicBezTo>
                      <a:pt x="329869" y="64172"/>
                      <a:pt x="126092" y="126294"/>
                      <a:pt x="122798" y="117823"/>
                    </a:cubicBezTo>
                    <a:cubicBezTo>
                      <a:pt x="119504" y="110293"/>
                      <a:pt x="263983" y="65584"/>
                      <a:pt x="311515" y="53348"/>
                    </a:cubicBezTo>
                    <a:cubicBezTo>
                      <a:pt x="323751" y="50054"/>
                      <a:pt x="348694" y="43936"/>
                      <a:pt x="360930" y="56643"/>
                    </a:cubicBezTo>
                    <a:cubicBezTo>
                      <a:pt x="368460" y="64643"/>
                      <a:pt x="367519" y="76409"/>
                      <a:pt x="367519" y="77820"/>
                    </a:cubicBezTo>
                    <a:cubicBezTo>
                      <a:pt x="365165" y="100410"/>
                      <a:pt x="335987" y="115470"/>
                      <a:pt x="303044" y="128647"/>
                    </a:cubicBezTo>
                    <a:cubicBezTo>
                      <a:pt x="249394" y="150766"/>
                      <a:pt x="198567" y="166767"/>
                      <a:pt x="160918" y="177591"/>
                    </a:cubicBezTo>
                    <a:cubicBezTo>
                      <a:pt x="194802" y="171944"/>
                      <a:pt x="225863" y="169120"/>
                      <a:pt x="252688" y="168179"/>
                    </a:cubicBezTo>
                    <a:cubicBezTo>
                      <a:pt x="306338" y="165826"/>
                      <a:pt x="356694" y="164414"/>
                      <a:pt x="365636" y="186062"/>
                    </a:cubicBezTo>
                    <a:cubicBezTo>
                      <a:pt x="368931" y="194533"/>
                      <a:pt x="366107" y="203946"/>
                      <a:pt x="361401" y="212417"/>
                    </a:cubicBezTo>
                    <a:cubicBezTo>
                      <a:pt x="367519" y="216652"/>
                      <a:pt x="369872" y="221359"/>
                      <a:pt x="370342" y="223712"/>
                    </a:cubicBezTo>
                    <a:cubicBezTo>
                      <a:pt x="375519" y="235948"/>
                      <a:pt x="130798" y="352661"/>
                      <a:pt x="45617" y="368662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ïśḻîḋè">
                <a:extLst>
                  <a:ext uri="{FF2B5EF4-FFF2-40B4-BE49-F238E27FC236}">
                    <a16:creationId xmlns:a16="http://schemas.microsoft.com/office/drawing/2014/main" id="{8E61E37D-1944-4318-BEAA-DA34B6388420}"/>
                  </a:ext>
                </a:extLst>
              </p:cNvPr>
              <p:cNvSpPr/>
              <p:nvPr/>
            </p:nvSpPr>
            <p:spPr>
              <a:xfrm>
                <a:off x="5072475" y="4178743"/>
                <a:ext cx="107567" cy="208143"/>
              </a:xfrm>
              <a:custGeom>
                <a:avLst/>
                <a:gdLst>
                  <a:gd name="connsiteX0" fmla="*/ 104948 w 107567"/>
                  <a:gd name="connsiteY0" fmla="*/ 186024 h 208143"/>
                  <a:gd name="connsiteX1" fmla="*/ 0 w 107567"/>
                  <a:gd name="connsiteY1" fmla="*/ 208143 h 208143"/>
                  <a:gd name="connsiteX2" fmla="*/ 60239 w 107567"/>
                  <a:gd name="connsiteY2" fmla="*/ 28368 h 208143"/>
                  <a:gd name="connsiteX3" fmla="*/ 73887 w 107567"/>
                  <a:gd name="connsiteY3" fmla="*/ 131 h 208143"/>
                  <a:gd name="connsiteX4" fmla="*/ 92241 w 107567"/>
                  <a:gd name="connsiteY4" fmla="*/ 10013 h 208143"/>
                  <a:gd name="connsiteX5" fmla="*/ 107301 w 107567"/>
                  <a:gd name="connsiteY5" fmla="*/ 57546 h 208143"/>
                  <a:gd name="connsiteX6" fmla="*/ 97418 w 107567"/>
                  <a:gd name="connsiteY6" fmla="*/ 161082 h 208143"/>
                  <a:gd name="connsiteX7" fmla="*/ 104948 w 107567"/>
                  <a:gd name="connsiteY7" fmla="*/ 186024 h 208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567" h="208143">
                    <a:moveTo>
                      <a:pt x="104948" y="186024"/>
                    </a:moveTo>
                    <a:cubicBezTo>
                      <a:pt x="70122" y="193554"/>
                      <a:pt x="34826" y="200613"/>
                      <a:pt x="0" y="208143"/>
                    </a:cubicBezTo>
                    <a:cubicBezTo>
                      <a:pt x="19766" y="148375"/>
                      <a:pt x="40003" y="88607"/>
                      <a:pt x="60239" y="28368"/>
                    </a:cubicBezTo>
                    <a:cubicBezTo>
                      <a:pt x="56004" y="14249"/>
                      <a:pt x="64475" y="1543"/>
                      <a:pt x="73887" y="131"/>
                    </a:cubicBezTo>
                    <a:cubicBezTo>
                      <a:pt x="80476" y="-811"/>
                      <a:pt x="87535" y="3425"/>
                      <a:pt x="92241" y="10013"/>
                    </a:cubicBezTo>
                    <a:cubicBezTo>
                      <a:pt x="103536" y="29779"/>
                      <a:pt x="106360" y="46722"/>
                      <a:pt x="107301" y="57546"/>
                    </a:cubicBezTo>
                    <a:cubicBezTo>
                      <a:pt x="110124" y="97078"/>
                      <a:pt x="89417" y="119667"/>
                      <a:pt x="97418" y="161082"/>
                    </a:cubicBezTo>
                    <a:cubicBezTo>
                      <a:pt x="98830" y="172376"/>
                      <a:pt x="102594" y="181318"/>
                      <a:pt x="104948" y="186024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íṩḷiḋe">
                <a:extLst>
                  <a:ext uri="{FF2B5EF4-FFF2-40B4-BE49-F238E27FC236}">
                    <a16:creationId xmlns:a16="http://schemas.microsoft.com/office/drawing/2014/main" id="{5BB6E134-B3E4-405F-A54E-E516A1996E76}"/>
                  </a:ext>
                </a:extLst>
              </p:cNvPr>
              <p:cNvSpPr/>
              <p:nvPr/>
            </p:nvSpPr>
            <p:spPr>
              <a:xfrm>
                <a:off x="4431317" y="4591992"/>
                <a:ext cx="274630" cy="140797"/>
              </a:xfrm>
              <a:custGeom>
                <a:avLst/>
                <a:gdLst>
                  <a:gd name="connsiteX0" fmla="*/ 5825 w 274630"/>
                  <a:gd name="connsiteY0" fmla="*/ 140798 h 140797"/>
                  <a:gd name="connsiteX1" fmla="*/ 649 w 274630"/>
                  <a:gd name="connsiteY1" fmla="*/ 137503 h 140797"/>
                  <a:gd name="connsiteX2" fmla="*/ 3002 w 274630"/>
                  <a:gd name="connsiteY2" fmla="*/ 129503 h 140797"/>
                  <a:gd name="connsiteX3" fmla="*/ 156894 w 274630"/>
                  <a:gd name="connsiteY3" fmla="*/ 50910 h 140797"/>
                  <a:gd name="connsiteX4" fmla="*/ 266077 w 274630"/>
                  <a:gd name="connsiteY4" fmla="*/ 554 h 140797"/>
                  <a:gd name="connsiteX5" fmla="*/ 274077 w 274630"/>
                  <a:gd name="connsiteY5" fmla="*/ 3378 h 140797"/>
                  <a:gd name="connsiteX6" fmla="*/ 271253 w 274630"/>
                  <a:gd name="connsiteY6" fmla="*/ 11378 h 140797"/>
                  <a:gd name="connsiteX7" fmla="*/ 162541 w 274630"/>
                  <a:gd name="connsiteY7" fmla="*/ 61734 h 140797"/>
                  <a:gd name="connsiteX8" fmla="*/ 9120 w 274630"/>
                  <a:gd name="connsiteY8" fmla="*/ 140327 h 140797"/>
                  <a:gd name="connsiteX9" fmla="*/ 5825 w 274630"/>
                  <a:gd name="connsiteY9" fmla="*/ 140798 h 140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4630" h="140797">
                    <a:moveTo>
                      <a:pt x="5825" y="140798"/>
                    </a:moveTo>
                    <a:cubicBezTo>
                      <a:pt x="3943" y="140798"/>
                      <a:pt x="1590" y="139856"/>
                      <a:pt x="649" y="137503"/>
                    </a:cubicBezTo>
                    <a:cubicBezTo>
                      <a:pt x="-763" y="134680"/>
                      <a:pt x="178" y="130915"/>
                      <a:pt x="3002" y="129503"/>
                    </a:cubicBezTo>
                    <a:cubicBezTo>
                      <a:pt x="53358" y="102207"/>
                      <a:pt x="104655" y="75852"/>
                      <a:pt x="156894" y="50910"/>
                    </a:cubicBezTo>
                    <a:cubicBezTo>
                      <a:pt x="192660" y="33497"/>
                      <a:pt x="229368" y="16555"/>
                      <a:pt x="266077" y="554"/>
                    </a:cubicBezTo>
                    <a:cubicBezTo>
                      <a:pt x="268900" y="-858"/>
                      <a:pt x="272665" y="554"/>
                      <a:pt x="274077" y="3378"/>
                    </a:cubicBezTo>
                    <a:cubicBezTo>
                      <a:pt x="275489" y="6201"/>
                      <a:pt x="274077" y="9966"/>
                      <a:pt x="271253" y="11378"/>
                    </a:cubicBezTo>
                    <a:cubicBezTo>
                      <a:pt x="235016" y="27379"/>
                      <a:pt x="198308" y="44321"/>
                      <a:pt x="162541" y="61734"/>
                    </a:cubicBezTo>
                    <a:cubicBezTo>
                      <a:pt x="110773" y="86677"/>
                      <a:pt x="59476" y="113031"/>
                      <a:pt x="9120" y="140327"/>
                    </a:cubicBezTo>
                    <a:cubicBezTo>
                      <a:pt x="7708" y="140798"/>
                      <a:pt x="6767" y="140798"/>
                      <a:pt x="5825" y="140798"/>
                    </a:cubicBezTo>
                    <a:close/>
                  </a:path>
                </a:pathLst>
              </a:custGeom>
              <a:solidFill>
                <a:srgbClr val="E25439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îṡļídê">
                <a:extLst>
                  <a:ext uri="{FF2B5EF4-FFF2-40B4-BE49-F238E27FC236}">
                    <a16:creationId xmlns:a16="http://schemas.microsoft.com/office/drawing/2014/main" id="{752929C8-6AB7-43FA-9D81-6242331B3B7F}"/>
                  </a:ext>
                </a:extLst>
              </p:cNvPr>
              <p:cNvSpPr/>
              <p:nvPr/>
            </p:nvSpPr>
            <p:spPr>
              <a:xfrm>
                <a:off x="6250817" y="4591521"/>
                <a:ext cx="274630" cy="141268"/>
              </a:xfrm>
              <a:custGeom>
                <a:avLst/>
                <a:gdLst>
                  <a:gd name="connsiteX0" fmla="*/ 268335 w 274630"/>
                  <a:gd name="connsiteY0" fmla="*/ 141268 h 141268"/>
                  <a:gd name="connsiteX1" fmla="*/ 265511 w 274630"/>
                  <a:gd name="connsiteY1" fmla="*/ 140327 h 141268"/>
                  <a:gd name="connsiteX2" fmla="*/ 112090 w 274630"/>
                  <a:gd name="connsiteY2" fmla="*/ 61734 h 141268"/>
                  <a:gd name="connsiteX3" fmla="*/ 3377 w 274630"/>
                  <a:gd name="connsiteY3" fmla="*/ 11378 h 141268"/>
                  <a:gd name="connsiteX4" fmla="*/ 554 w 274630"/>
                  <a:gd name="connsiteY4" fmla="*/ 3378 h 141268"/>
                  <a:gd name="connsiteX5" fmla="*/ 8554 w 274630"/>
                  <a:gd name="connsiteY5" fmla="*/ 554 h 141268"/>
                  <a:gd name="connsiteX6" fmla="*/ 117737 w 274630"/>
                  <a:gd name="connsiteY6" fmla="*/ 50910 h 141268"/>
                  <a:gd name="connsiteX7" fmla="*/ 271629 w 274630"/>
                  <a:gd name="connsiteY7" fmla="*/ 129503 h 141268"/>
                  <a:gd name="connsiteX8" fmla="*/ 273982 w 274630"/>
                  <a:gd name="connsiteY8" fmla="*/ 137503 h 141268"/>
                  <a:gd name="connsiteX9" fmla="*/ 268335 w 274630"/>
                  <a:gd name="connsiteY9" fmla="*/ 141268 h 141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4630" h="141268">
                    <a:moveTo>
                      <a:pt x="268335" y="141268"/>
                    </a:moveTo>
                    <a:cubicBezTo>
                      <a:pt x="267394" y="141268"/>
                      <a:pt x="266452" y="141268"/>
                      <a:pt x="265511" y="140327"/>
                    </a:cubicBezTo>
                    <a:cubicBezTo>
                      <a:pt x="215626" y="113031"/>
                      <a:pt x="163858" y="86677"/>
                      <a:pt x="112090" y="61734"/>
                    </a:cubicBezTo>
                    <a:cubicBezTo>
                      <a:pt x="76323" y="44321"/>
                      <a:pt x="39615" y="27379"/>
                      <a:pt x="3377" y="11378"/>
                    </a:cubicBezTo>
                    <a:cubicBezTo>
                      <a:pt x="554" y="9966"/>
                      <a:pt x="-858" y="6672"/>
                      <a:pt x="554" y="3378"/>
                    </a:cubicBezTo>
                    <a:cubicBezTo>
                      <a:pt x="1966" y="554"/>
                      <a:pt x="5260" y="-858"/>
                      <a:pt x="8554" y="554"/>
                    </a:cubicBezTo>
                    <a:cubicBezTo>
                      <a:pt x="45262" y="16555"/>
                      <a:pt x="81970" y="33968"/>
                      <a:pt x="117737" y="50910"/>
                    </a:cubicBezTo>
                    <a:cubicBezTo>
                      <a:pt x="169505" y="75853"/>
                      <a:pt x="221273" y="102207"/>
                      <a:pt x="271629" y="129503"/>
                    </a:cubicBezTo>
                    <a:cubicBezTo>
                      <a:pt x="274453" y="130915"/>
                      <a:pt x="275394" y="134680"/>
                      <a:pt x="273982" y="137503"/>
                    </a:cubicBezTo>
                    <a:cubicBezTo>
                      <a:pt x="272570" y="140327"/>
                      <a:pt x="270688" y="141268"/>
                      <a:pt x="268335" y="141268"/>
                    </a:cubicBezTo>
                    <a:close/>
                  </a:path>
                </a:pathLst>
              </a:custGeom>
              <a:solidFill>
                <a:srgbClr val="E25439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íṥḻïḓè">
                <a:extLst>
                  <a:ext uri="{FF2B5EF4-FFF2-40B4-BE49-F238E27FC236}">
                    <a16:creationId xmlns:a16="http://schemas.microsoft.com/office/drawing/2014/main" id="{715812A5-8BED-466E-956B-1805C223FF77}"/>
                  </a:ext>
                </a:extLst>
              </p:cNvPr>
              <p:cNvSpPr/>
              <p:nvPr/>
            </p:nvSpPr>
            <p:spPr>
              <a:xfrm>
                <a:off x="5336020" y="3412239"/>
                <a:ext cx="270133" cy="368022"/>
              </a:xfrm>
              <a:custGeom>
                <a:avLst/>
                <a:gdLst>
                  <a:gd name="connsiteX0" fmla="*/ 270134 w 270133"/>
                  <a:gd name="connsiteY0" fmla="*/ 184011 h 368022"/>
                  <a:gd name="connsiteX1" fmla="*/ 135067 w 270133"/>
                  <a:gd name="connsiteY1" fmla="*/ 368023 h 368022"/>
                  <a:gd name="connsiteX2" fmla="*/ 0 w 270133"/>
                  <a:gd name="connsiteY2" fmla="*/ 184011 h 368022"/>
                  <a:gd name="connsiteX3" fmla="*/ 135067 w 270133"/>
                  <a:gd name="connsiteY3" fmla="*/ 0 h 368022"/>
                  <a:gd name="connsiteX4" fmla="*/ 270134 w 270133"/>
                  <a:gd name="connsiteY4" fmla="*/ 184011 h 368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133" h="368022">
                    <a:moveTo>
                      <a:pt x="270134" y="184011"/>
                    </a:moveTo>
                    <a:cubicBezTo>
                      <a:pt x="270134" y="285665"/>
                      <a:pt x="209425" y="368023"/>
                      <a:pt x="135067" y="368023"/>
                    </a:cubicBezTo>
                    <a:cubicBezTo>
                      <a:pt x="60709" y="368023"/>
                      <a:pt x="0" y="285665"/>
                      <a:pt x="0" y="184011"/>
                    </a:cubicBezTo>
                    <a:cubicBezTo>
                      <a:pt x="0" y="82358"/>
                      <a:pt x="60709" y="0"/>
                      <a:pt x="135067" y="0"/>
                    </a:cubicBezTo>
                    <a:cubicBezTo>
                      <a:pt x="209425" y="0"/>
                      <a:pt x="270134" y="82358"/>
                      <a:pt x="270134" y="184011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íSlïḋé">
                <a:extLst>
                  <a:ext uri="{FF2B5EF4-FFF2-40B4-BE49-F238E27FC236}">
                    <a16:creationId xmlns:a16="http://schemas.microsoft.com/office/drawing/2014/main" id="{BC6ACE2C-C7A3-4F73-BB11-C8E1FACB41E9}"/>
                  </a:ext>
                </a:extLst>
              </p:cNvPr>
              <p:cNvSpPr/>
              <p:nvPr/>
            </p:nvSpPr>
            <p:spPr>
              <a:xfrm>
                <a:off x="5226389" y="3094455"/>
                <a:ext cx="489292" cy="635453"/>
              </a:xfrm>
              <a:custGeom>
                <a:avLst/>
                <a:gdLst>
                  <a:gd name="connsiteX0" fmla="*/ 484242 w 489292"/>
                  <a:gd name="connsiteY0" fmla="*/ 293783 h 635453"/>
                  <a:gd name="connsiteX1" fmla="*/ 246581 w 489292"/>
                  <a:gd name="connsiteY1" fmla="*/ 635451 h 635453"/>
                  <a:gd name="connsiteX2" fmla="*/ 5155 w 489292"/>
                  <a:gd name="connsiteY2" fmla="*/ 293783 h 635453"/>
                  <a:gd name="connsiteX3" fmla="*/ 37627 w 489292"/>
                  <a:gd name="connsiteY3" fmla="*/ 98006 h 635453"/>
                  <a:gd name="connsiteX4" fmla="*/ 244699 w 489292"/>
                  <a:gd name="connsiteY4" fmla="*/ 118 h 635453"/>
                  <a:gd name="connsiteX5" fmla="*/ 439063 w 489292"/>
                  <a:gd name="connsiteY5" fmla="*/ 73064 h 635453"/>
                  <a:gd name="connsiteX6" fmla="*/ 484242 w 489292"/>
                  <a:gd name="connsiteY6" fmla="*/ 293783 h 635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9292" h="635453">
                    <a:moveTo>
                      <a:pt x="484242" y="293783"/>
                    </a:moveTo>
                    <a:cubicBezTo>
                      <a:pt x="467771" y="430262"/>
                      <a:pt x="376942" y="634510"/>
                      <a:pt x="246581" y="635451"/>
                    </a:cubicBezTo>
                    <a:cubicBezTo>
                      <a:pt x="115749" y="636392"/>
                      <a:pt x="22567" y="430262"/>
                      <a:pt x="5155" y="293783"/>
                    </a:cubicBezTo>
                    <a:cubicBezTo>
                      <a:pt x="-1434" y="242956"/>
                      <a:pt x="-9905" y="166246"/>
                      <a:pt x="37627" y="98006"/>
                    </a:cubicBezTo>
                    <a:cubicBezTo>
                      <a:pt x="99278" y="9530"/>
                      <a:pt x="210344" y="1059"/>
                      <a:pt x="244699" y="118"/>
                    </a:cubicBezTo>
                    <a:cubicBezTo>
                      <a:pt x="269171" y="-353"/>
                      <a:pt x="372706" y="-2706"/>
                      <a:pt x="439063" y="73064"/>
                    </a:cubicBezTo>
                    <a:cubicBezTo>
                      <a:pt x="502126" y="145538"/>
                      <a:pt x="490361" y="241074"/>
                      <a:pt x="484242" y="293783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iṧḷiḋé">
                <a:extLst>
                  <a:ext uri="{FF2B5EF4-FFF2-40B4-BE49-F238E27FC236}">
                    <a16:creationId xmlns:a16="http://schemas.microsoft.com/office/drawing/2014/main" id="{C594086B-ACD9-4487-877E-84C7E9383501}"/>
                  </a:ext>
                </a:extLst>
              </p:cNvPr>
              <p:cNvSpPr/>
              <p:nvPr/>
            </p:nvSpPr>
            <p:spPr>
              <a:xfrm>
                <a:off x="5237131" y="4457419"/>
                <a:ext cx="202485" cy="41474"/>
              </a:xfrm>
              <a:custGeom>
                <a:avLst/>
                <a:gdLst>
                  <a:gd name="connsiteX0" fmla="*/ 5708 w 202485"/>
                  <a:gd name="connsiteY0" fmla="*/ 41474 h 41474"/>
                  <a:gd name="connsiteX1" fmla="*/ 60 w 202485"/>
                  <a:gd name="connsiteY1" fmla="*/ 36298 h 41474"/>
                  <a:gd name="connsiteX2" fmla="*/ 4767 w 202485"/>
                  <a:gd name="connsiteY2" fmla="*/ 29709 h 41474"/>
                  <a:gd name="connsiteX3" fmla="*/ 195837 w 202485"/>
                  <a:gd name="connsiteY3" fmla="*/ 60 h 41474"/>
                  <a:gd name="connsiteX4" fmla="*/ 202426 w 202485"/>
                  <a:gd name="connsiteY4" fmla="*/ 4766 h 41474"/>
                  <a:gd name="connsiteX5" fmla="*/ 197719 w 202485"/>
                  <a:gd name="connsiteY5" fmla="*/ 11355 h 41474"/>
                  <a:gd name="connsiteX6" fmla="*/ 6178 w 202485"/>
                  <a:gd name="connsiteY6" fmla="*/ 41004 h 41474"/>
                  <a:gd name="connsiteX7" fmla="*/ 5708 w 202485"/>
                  <a:gd name="connsiteY7" fmla="*/ 41474 h 41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485" h="41474">
                    <a:moveTo>
                      <a:pt x="5708" y="41474"/>
                    </a:moveTo>
                    <a:cubicBezTo>
                      <a:pt x="2884" y="41474"/>
                      <a:pt x="531" y="39592"/>
                      <a:pt x="60" y="36298"/>
                    </a:cubicBezTo>
                    <a:cubicBezTo>
                      <a:pt x="-410" y="33004"/>
                      <a:pt x="1943" y="30180"/>
                      <a:pt x="4767" y="29709"/>
                    </a:cubicBezTo>
                    <a:lnTo>
                      <a:pt x="195837" y="60"/>
                    </a:lnTo>
                    <a:cubicBezTo>
                      <a:pt x="199131" y="-410"/>
                      <a:pt x="201955" y="1943"/>
                      <a:pt x="202426" y="4766"/>
                    </a:cubicBezTo>
                    <a:cubicBezTo>
                      <a:pt x="202896" y="8061"/>
                      <a:pt x="200543" y="10884"/>
                      <a:pt x="197719" y="11355"/>
                    </a:cubicBezTo>
                    <a:lnTo>
                      <a:pt x="6178" y="41004"/>
                    </a:lnTo>
                    <a:cubicBezTo>
                      <a:pt x="6178" y="41474"/>
                      <a:pt x="6178" y="41474"/>
                      <a:pt x="5708" y="41474"/>
                    </a:cubicBezTo>
                    <a:close/>
                  </a:path>
                </a:pathLst>
              </a:custGeom>
              <a:solidFill>
                <a:srgbClr val="E25439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íṩḷïdè">
                <a:extLst>
                  <a:ext uri="{FF2B5EF4-FFF2-40B4-BE49-F238E27FC236}">
                    <a16:creationId xmlns:a16="http://schemas.microsoft.com/office/drawing/2014/main" id="{E311855B-213C-4E23-9FCD-04D7BBED34C9}"/>
                  </a:ext>
                </a:extLst>
              </p:cNvPr>
              <p:cNvSpPr/>
              <p:nvPr/>
            </p:nvSpPr>
            <p:spPr>
              <a:xfrm>
                <a:off x="5209134" y="4302826"/>
                <a:ext cx="163884" cy="68059"/>
              </a:xfrm>
              <a:custGeom>
                <a:avLst/>
                <a:gdLst>
                  <a:gd name="connsiteX0" fmla="*/ 5938 w 163884"/>
                  <a:gd name="connsiteY0" fmla="*/ 68059 h 68059"/>
                  <a:gd name="connsiteX1" fmla="*/ 290 w 163884"/>
                  <a:gd name="connsiteY1" fmla="*/ 64294 h 68059"/>
                  <a:gd name="connsiteX2" fmla="*/ 3585 w 163884"/>
                  <a:gd name="connsiteY2" fmla="*/ 56764 h 68059"/>
                  <a:gd name="connsiteX3" fmla="*/ 156065 w 163884"/>
                  <a:gd name="connsiteY3" fmla="*/ 290 h 68059"/>
                  <a:gd name="connsiteX4" fmla="*/ 163595 w 163884"/>
                  <a:gd name="connsiteY4" fmla="*/ 3585 h 68059"/>
                  <a:gd name="connsiteX5" fmla="*/ 160300 w 163884"/>
                  <a:gd name="connsiteY5" fmla="*/ 11115 h 68059"/>
                  <a:gd name="connsiteX6" fmla="*/ 7820 w 163884"/>
                  <a:gd name="connsiteY6" fmla="*/ 67589 h 68059"/>
                  <a:gd name="connsiteX7" fmla="*/ 5938 w 163884"/>
                  <a:gd name="connsiteY7" fmla="*/ 68059 h 68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884" h="68059">
                    <a:moveTo>
                      <a:pt x="5938" y="68059"/>
                    </a:moveTo>
                    <a:cubicBezTo>
                      <a:pt x="3585" y="68059"/>
                      <a:pt x="1232" y="66647"/>
                      <a:pt x="290" y="64294"/>
                    </a:cubicBezTo>
                    <a:cubicBezTo>
                      <a:pt x="-651" y="61471"/>
                      <a:pt x="761" y="57706"/>
                      <a:pt x="3585" y="56764"/>
                    </a:cubicBezTo>
                    <a:lnTo>
                      <a:pt x="156065" y="290"/>
                    </a:lnTo>
                    <a:cubicBezTo>
                      <a:pt x="159359" y="-651"/>
                      <a:pt x="162653" y="761"/>
                      <a:pt x="163595" y="3585"/>
                    </a:cubicBezTo>
                    <a:cubicBezTo>
                      <a:pt x="164536" y="6408"/>
                      <a:pt x="163124" y="10173"/>
                      <a:pt x="160300" y="11115"/>
                    </a:cubicBezTo>
                    <a:lnTo>
                      <a:pt x="7820" y="67589"/>
                    </a:lnTo>
                    <a:cubicBezTo>
                      <a:pt x="6879" y="68059"/>
                      <a:pt x="6408" y="68059"/>
                      <a:pt x="5938" y="68059"/>
                    </a:cubicBezTo>
                    <a:close/>
                  </a:path>
                </a:pathLst>
              </a:custGeom>
              <a:solidFill>
                <a:srgbClr val="E25439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íṥlïḑè">
                <a:extLst>
                  <a:ext uri="{FF2B5EF4-FFF2-40B4-BE49-F238E27FC236}">
                    <a16:creationId xmlns:a16="http://schemas.microsoft.com/office/drawing/2014/main" id="{87E31860-D759-4EF5-B555-85012460C373}"/>
                  </a:ext>
                </a:extLst>
              </p:cNvPr>
              <p:cNvSpPr/>
              <p:nvPr/>
            </p:nvSpPr>
            <p:spPr>
              <a:xfrm>
                <a:off x="3876550" y="3546408"/>
                <a:ext cx="950535" cy="1793477"/>
              </a:xfrm>
              <a:custGeom>
                <a:avLst/>
                <a:gdLst>
                  <a:gd name="connsiteX0" fmla="*/ 751663 w 950535"/>
                  <a:gd name="connsiteY0" fmla="*/ 1793477 h 1793477"/>
                  <a:gd name="connsiteX1" fmla="*/ 426937 w 950535"/>
                  <a:gd name="connsiteY1" fmla="*/ 1717708 h 1793477"/>
                  <a:gd name="connsiteX2" fmla="*/ 28795 w 950535"/>
                  <a:gd name="connsiteY2" fmla="*/ 1199088 h 1793477"/>
                  <a:gd name="connsiteX3" fmla="*/ 61738 w 950535"/>
                  <a:gd name="connsiteY3" fmla="*/ 745884 h 1793477"/>
                  <a:gd name="connsiteX4" fmla="*/ 139861 w 950535"/>
                  <a:gd name="connsiteY4" fmla="*/ 657879 h 1793477"/>
                  <a:gd name="connsiteX5" fmla="*/ 265515 w 950535"/>
                  <a:gd name="connsiteY5" fmla="*/ 484692 h 1793477"/>
                  <a:gd name="connsiteX6" fmla="*/ 301753 w 950535"/>
                  <a:gd name="connsiteY6" fmla="*/ 349625 h 1793477"/>
                  <a:gd name="connsiteX7" fmla="*/ 344108 w 950535"/>
                  <a:gd name="connsiteY7" fmla="*/ 210793 h 1793477"/>
                  <a:gd name="connsiteX8" fmla="*/ 588359 w 950535"/>
                  <a:gd name="connsiteY8" fmla="*/ 898 h 1793477"/>
                  <a:gd name="connsiteX9" fmla="*/ 603889 w 950535"/>
                  <a:gd name="connsiteY9" fmla="*/ 7016 h 1793477"/>
                  <a:gd name="connsiteX10" fmla="*/ 597771 w 950535"/>
                  <a:gd name="connsiteY10" fmla="*/ 22546 h 1793477"/>
                  <a:gd name="connsiteX11" fmla="*/ 364816 w 950535"/>
                  <a:gd name="connsiteY11" fmla="*/ 222088 h 1793477"/>
                  <a:gd name="connsiteX12" fmla="*/ 324813 w 950535"/>
                  <a:gd name="connsiteY12" fmla="*/ 353860 h 1793477"/>
                  <a:gd name="connsiteX13" fmla="*/ 287164 w 950535"/>
                  <a:gd name="connsiteY13" fmla="*/ 494104 h 1793477"/>
                  <a:gd name="connsiteX14" fmla="*/ 155862 w 950535"/>
                  <a:gd name="connsiteY14" fmla="*/ 675292 h 1793477"/>
                  <a:gd name="connsiteX15" fmla="*/ 81504 w 950535"/>
                  <a:gd name="connsiteY15" fmla="*/ 759062 h 1793477"/>
                  <a:gd name="connsiteX16" fmla="*/ 51385 w 950535"/>
                  <a:gd name="connsiteY16" fmla="*/ 1193441 h 1793477"/>
                  <a:gd name="connsiteX17" fmla="*/ 437291 w 950535"/>
                  <a:gd name="connsiteY17" fmla="*/ 1697471 h 1793477"/>
                  <a:gd name="connsiteX18" fmla="*/ 936144 w 950535"/>
                  <a:gd name="connsiteY18" fmla="*/ 1750181 h 1793477"/>
                  <a:gd name="connsiteX19" fmla="*/ 950263 w 950535"/>
                  <a:gd name="connsiteY19" fmla="*/ 1759122 h 1793477"/>
                  <a:gd name="connsiteX20" fmla="*/ 941321 w 950535"/>
                  <a:gd name="connsiteY20" fmla="*/ 1773241 h 1793477"/>
                  <a:gd name="connsiteX21" fmla="*/ 751663 w 950535"/>
                  <a:gd name="connsiteY21" fmla="*/ 1793477 h 1793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50535" h="1793477">
                    <a:moveTo>
                      <a:pt x="751663" y="1793477"/>
                    </a:moveTo>
                    <a:cubicBezTo>
                      <a:pt x="650951" y="1793477"/>
                      <a:pt x="538003" y="1774653"/>
                      <a:pt x="426937" y="1717708"/>
                    </a:cubicBezTo>
                    <a:cubicBezTo>
                      <a:pt x="239631" y="1621702"/>
                      <a:pt x="90917" y="1427808"/>
                      <a:pt x="28795" y="1199088"/>
                    </a:cubicBezTo>
                    <a:cubicBezTo>
                      <a:pt x="-19208" y="1022607"/>
                      <a:pt x="-6501" y="853185"/>
                      <a:pt x="61738" y="745884"/>
                    </a:cubicBezTo>
                    <a:cubicBezTo>
                      <a:pt x="84799" y="709647"/>
                      <a:pt x="111624" y="684704"/>
                      <a:pt x="139861" y="657879"/>
                    </a:cubicBezTo>
                    <a:cubicBezTo>
                      <a:pt x="183628" y="616464"/>
                      <a:pt x="228807" y="573638"/>
                      <a:pt x="265515" y="484692"/>
                    </a:cubicBezTo>
                    <a:cubicBezTo>
                      <a:pt x="287634" y="430571"/>
                      <a:pt x="294694" y="389627"/>
                      <a:pt x="301753" y="349625"/>
                    </a:cubicBezTo>
                    <a:cubicBezTo>
                      <a:pt x="309283" y="304916"/>
                      <a:pt x="316342" y="263031"/>
                      <a:pt x="344108" y="210793"/>
                    </a:cubicBezTo>
                    <a:cubicBezTo>
                      <a:pt x="391641" y="121846"/>
                      <a:pt x="473528" y="51254"/>
                      <a:pt x="588359" y="898"/>
                    </a:cubicBezTo>
                    <a:cubicBezTo>
                      <a:pt x="594006" y="-1455"/>
                      <a:pt x="601065" y="898"/>
                      <a:pt x="603889" y="7016"/>
                    </a:cubicBezTo>
                    <a:cubicBezTo>
                      <a:pt x="606713" y="13134"/>
                      <a:pt x="603889" y="19722"/>
                      <a:pt x="597771" y="22546"/>
                    </a:cubicBezTo>
                    <a:cubicBezTo>
                      <a:pt x="488117" y="70549"/>
                      <a:pt x="409524" y="137847"/>
                      <a:pt x="364816" y="222088"/>
                    </a:cubicBezTo>
                    <a:cubicBezTo>
                      <a:pt x="338932" y="271032"/>
                      <a:pt x="332343" y="309152"/>
                      <a:pt x="324813" y="353860"/>
                    </a:cubicBezTo>
                    <a:cubicBezTo>
                      <a:pt x="318225" y="392921"/>
                      <a:pt x="310695" y="437630"/>
                      <a:pt x="287164" y="494104"/>
                    </a:cubicBezTo>
                    <a:cubicBezTo>
                      <a:pt x="248573" y="588228"/>
                      <a:pt x="199158" y="634348"/>
                      <a:pt x="155862" y="675292"/>
                    </a:cubicBezTo>
                    <a:cubicBezTo>
                      <a:pt x="128566" y="701175"/>
                      <a:pt x="103153" y="725177"/>
                      <a:pt x="81504" y="759062"/>
                    </a:cubicBezTo>
                    <a:cubicBezTo>
                      <a:pt x="16559" y="860715"/>
                      <a:pt x="5264" y="1023077"/>
                      <a:pt x="51385" y="1193441"/>
                    </a:cubicBezTo>
                    <a:cubicBezTo>
                      <a:pt x="111624" y="1416043"/>
                      <a:pt x="255632" y="1604289"/>
                      <a:pt x="437291" y="1697471"/>
                    </a:cubicBezTo>
                    <a:cubicBezTo>
                      <a:pt x="620831" y="1791595"/>
                      <a:pt x="810019" y="1777947"/>
                      <a:pt x="936144" y="1750181"/>
                    </a:cubicBezTo>
                    <a:cubicBezTo>
                      <a:pt x="942733" y="1748769"/>
                      <a:pt x="948851" y="1753004"/>
                      <a:pt x="950263" y="1759122"/>
                    </a:cubicBezTo>
                    <a:cubicBezTo>
                      <a:pt x="951675" y="1765240"/>
                      <a:pt x="947439" y="1771829"/>
                      <a:pt x="941321" y="1773241"/>
                    </a:cubicBezTo>
                    <a:cubicBezTo>
                      <a:pt x="887671" y="1784065"/>
                      <a:pt x="822726" y="1793477"/>
                      <a:pt x="751663" y="1793477"/>
                    </a:cubicBezTo>
                    <a:close/>
                  </a:path>
                </a:pathLst>
              </a:custGeom>
              <a:solidFill>
                <a:srgbClr val="7C2D64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iṣḻîďé">
                <a:extLst>
                  <a:ext uri="{FF2B5EF4-FFF2-40B4-BE49-F238E27FC236}">
                    <a16:creationId xmlns:a16="http://schemas.microsoft.com/office/drawing/2014/main" id="{0FACCB8A-E679-40D6-9806-666DD2B39CC6}"/>
                  </a:ext>
                </a:extLst>
              </p:cNvPr>
              <p:cNvSpPr/>
              <p:nvPr/>
            </p:nvSpPr>
            <p:spPr>
              <a:xfrm>
                <a:off x="6308769" y="3220460"/>
                <a:ext cx="302748" cy="725458"/>
              </a:xfrm>
              <a:custGeom>
                <a:avLst/>
                <a:gdLst>
                  <a:gd name="connsiteX0" fmla="*/ 165674 w 302748"/>
                  <a:gd name="connsiteY0" fmla="*/ 725458 h 725458"/>
                  <a:gd name="connsiteX1" fmla="*/ 158144 w 302748"/>
                  <a:gd name="connsiteY1" fmla="*/ 722635 h 725458"/>
                  <a:gd name="connsiteX2" fmla="*/ 156262 w 302748"/>
                  <a:gd name="connsiteY2" fmla="*/ 706163 h 725458"/>
                  <a:gd name="connsiteX3" fmla="*/ 221207 w 302748"/>
                  <a:gd name="connsiteY3" fmla="*/ 175307 h 725458"/>
                  <a:gd name="connsiteX4" fmla="*/ 8488 w 302748"/>
                  <a:gd name="connsiteY4" fmla="*/ 22827 h 725458"/>
                  <a:gd name="connsiteX5" fmla="*/ 487 w 302748"/>
                  <a:gd name="connsiteY5" fmla="*/ 8238 h 725458"/>
                  <a:gd name="connsiteX6" fmla="*/ 15076 w 302748"/>
                  <a:gd name="connsiteY6" fmla="*/ 708 h 725458"/>
                  <a:gd name="connsiteX7" fmla="*/ 240502 w 302748"/>
                  <a:gd name="connsiteY7" fmla="*/ 162600 h 725458"/>
                  <a:gd name="connsiteX8" fmla="*/ 174145 w 302748"/>
                  <a:gd name="connsiteY8" fmla="*/ 720752 h 725458"/>
                  <a:gd name="connsiteX9" fmla="*/ 165674 w 302748"/>
                  <a:gd name="connsiteY9" fmla="*/ 725458 h 72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2748" h="725458">
                    <a:moveTo>
                      <a:pt x="165674" y="725458"/>
                    </a:moveTo>
                    <a:cubicBezTo>
                      <a:pt x="162850" y="725458"/>
                      <a:pt x="160497" y="724517"/>
                      <a:pt x="158144" y="722635"/>
                    </a:cubicBezTo>
                    <a:cubicBezTo>
                      <a:pt x="152967" y="718399"/>
                      <a:pt x="152497" y="711340"/>
                      <a:pt x="156262" y="706163"/>
                    </a:cubicBezTo>
                    <a:cubicBezTo>
                      <a:pt x="290387" y="540035"/>
                      <a:pt x="317212" y="322140"/>
                      <a:pt x="221207" y="175307"/>
                    </a:cubicBezTo>
                    <a:cubicBezTo>
                      <a:pt x="162379" y="85419"/>
                      <a:pt x="72962" y="43064"/>
                      <a:pt x="8488" y="22827"/>
                    </a:cubicBezTo>
                    <a:cubicBezTo>
                      <a:pt x="2370" y="20945"/>
                      <a:pt x="-1395" y="14356"/>
                      <a:pt x="487" y="8238"/>
                    </a:cubicBezTo>
                    <a:cubicBezTo>
                      <a:pt x="2370" y="2120"/>
                      <a:pt x="8958" y="-1645"/>
                      <a:pt x="15076" y="708"/>
                    </a:cubicBezTo>
                    <a:cubicBezTo>
                      <a:pt x="83316" y="21886"/>
                      <a:pt x="178380" y="67065"/>
                      <a:pt x="240502" y="162600"/>
                    </a:cubicBezTo>
                    <a:cubicBezTo>
                      <a:pt x="343567" y="319786"/>
                      <a:pt x="316742" y="544271"/>
                      <a:pt x="174145" y="720752"/>
                    </a:cubicBezTo>
                    <a:cubicBezTo>
                      <a:pt x="172262" y="724046"/>
                      <a:pt x="168968" y="725458"/>
                      <a:pt x="165674" y="725458"/>
                    </a:cubicBezTo>
                    <a:close/>
                  </a:path>
                </a:pathLst>
              </a:custGeom>
              <a:solidFill>
                <a:srgbClr val="7C2D64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íşļîḋè">
                <a:extLst>
                  <a:ext uri="{FF2B5EF4-FFF2-40B4-BE49-F238E27FC236}">
                    <a16:creationId xmlns:a16="http://schemas.microsoft.com/office/drawing/2014/main" id="{F295BB5B-C925-439D-B21F-9BEFEBD243C0}"/>
                  </a:ext>
                </a:extLst>
              </p:cNvPr>
              <p:cNvSpPr/>
              <p:nvPr/>
            </p:nvSpPr>
            <p:spPr>
              <a:xfrm>
                <a:off x="6236018" y="4010299"/>
                <a:ext cx="698560" cy="1196872"/>
              </a:xfrm>
              <a:custGeom>
                <a:avLst/>
                <a:gdLst>
                  <a:gd name="connsiteX0" fmla="*/ 443614 w 698560"/>
                  <a:gd name="connsiteY0" fmla="*/ 1196873 h 1196872"/>
                  <a:gd name="connsiteX1" fmla="*/ 357020 w 698560"/>
                  <a:gd name="connsiteY1" fmla="*/ 1178518 h 1196872"/>
                  <a:gd name="connsiteX2" fmla="*/ 276545 w 698560"/>
                  <a:gd name="connsiteY2" fmla="*/ 1155929 h 1196872"/>
                  <a:gd name="connsiteX3" fmla="*/ 15823 w 698560"/>
                  <a:gd name="connsiteY3" fmla="*/ 1184637 h 1196872"/>
                  <a:gd name="connsiteX4" fmla="*/ 763 w 698560"/>
                  <a:gd name="connsiteY4" fmla="*/ 1177577 h 1196872"/>
                  <a:gd name="connsiteX5" fmla="*/ 7822 w 698560"/>
                  <a:gd name="connsiteY5" fmla="*/ 1162518 h 1196872"/>
                  <a:gd name="connsiteX6" fmla="*/ 280780 w 698560"/>
                  <a:gd name="connsiteY6" fmla="*/ 1132869 h 1196872"/>
                  <a:gd name="connsiteX7" fmla="*/ 365021 w 698560"/>
                  <a:gd name="connsiteY7" fmla="*/ 1156399 h 1196872"/>
                  <a:gd name="connsiteX8" fmla="*/ 457262 w 698560"/>
                  <a:gd name="connsiteY8" fmla="*/ 1172871 h 1196872"/>
                  <a:gd name="connsiteX9" fmla="*/ 669510 w 698560"/>
                  <a:gd name="connsiteY9" fmla="*/ 1027921 h 1196872"/>
                  <a:gd name="connsiteX10" fmla="*/ 626213 w 698560"/>
                  <a:gd name="connsiteY10" fmla="*/ 846263 h 1196872"/>
                  <a:gd name="connsiteX11" fmla="*/ 515618 w 698560"/>
                  <a:gd name="connsiteY11" fmla="*/ 685312 h 1196872"/>
                  <a:gd name="connsiteX12" fmla="*/ 450202 w 698560"/>
                  <a:gd name="connsiteY12" fmla="*/ 577070 h 1196872"/>
                  <a:gd name="connsiteX13" fmla="*/ 479381 w 698560"/>
                  <a:gd name="connsiteY13" fmla="*/ 394471 h 1196872"/>
                  <a:gd name="connsiteX14" fmla="*/ 494911 w 698560"/>
                  <a:gd name="connsiteY14" fmla="*/ 239638 h 1196872"/>
                  <a:gd name="connsiteX15" fmla="*/ 363138 w 698560"/>
                  <a:gd name="connsiteY15" fmla="*/ 105041 h 1196872"/>
                  <a:gd name="connsiteX16" fmla="*/ 237013 w 698560"/>
                  <a:gd name="connsiteY16" fmla="*/ 22213 h 1196872"/>
                  <a:gd name="connsiteX17" fmla="*/ 232307 w 698560"/>
                  <a:gd name="connsiteY17" fmla="*/ 6212 h 1196872"/>
                  <a:gd name="connsiteX18" fmla="*/ 248308 w 698560"/>
                  <a:gd name="connsiteY18" fmla="*/ 1506 h 1196872"/>
                  <a:gd name="connsiteX19" fmla="*/ 378198 w 698560"/>
                  <a:gd name="connsiteY19" fmla="*/ 86687 h 1196872"/>
                  <a:gd name="connsiteX20" fmla="*/ 516559 w 698560"/>
                  <a:gd name="connsiteY20" fmla="*/ 229755 h 1196872"/>
                  <a:gd name="connsiteX21" fmla="*/ 501029 w 698560"/>
                  <a:gd name="connsiteY21" fmla="*/ 403883 h 1196872"/>
                  <a:gd name="connsiteX22" fmla="*/ 473262 w 698560"/>
                  <a:gd name="connsiteY22" fmla="*/ 571893 h 1196872"/>
                  <a:gd name="connsiteX23" fmla="*/ 533031 w 698560"/>
                  <a:gd name="connsiteY23" fmla="*/ 669311 h 1196872"/>
                  <a:gd name="connsiteX24" fmla="*/ 647861 w 698560"/>
                  <a:gd name="connsiteY24" fmla="*/ 836380 h 1196872"/>
                  <a:gd name="connsiteX25" fmla="*/ 692570 w 698560"/>
                  <a:gd name="connsiteY25" fmla="*/ 1034510 h 1196872"/>
                  <a:gd name="connsiteX26" fmla="*/ 459144 w 698560"/>
                  <a:gd name="connsiteY26" fmla="*/ 1196402 h 1196872"/>
                  <a:gd name="connsiteX27" fmla="*/ 443614 w 698560"/>
                  <a:gd name="connsiteY27" fmla="*/ 1196873 h 1196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98560" h="1196872">
                    <a:moveTo>
                      <a:pt x="443614" y="1196873"/>
                    </a:moveTo>
                    <a:cubicBezTo>
                      <a:pt x="408317" y="1196873"/>
                      <a:pt x="384316" y="1188401"/>
                      <a:pt x="357020" y="1178518"/>
                    </a:cubicBezTo>
                    <a:cubicBezTo>
                      <a:pt x="335372" y="1170989"/>
                      <a:pt x="311370" y="1162047"/>
                      <a:pt x="276545" y="1155929"/>
                    </a:cubicBezTo>
                    <a:cubicBezTo>
                      <a:pt x="194657" y="1141340"/>
                      <a:pt x="106652" y="1151223"/>
                      <a:pt x="15823" y="1184637"/>
                    </a:cubicBezTo>
                    <a:cubicBezTo>
                      <a:pt x="9705" y="1186990"/>
                      <a:pt x="3116" y="1183695"/>
                      <a:pt x="763" y="1177577"/>
                    </a:cubicBezTo>
                    <a:cubicBezTo>
                      <a:pt x="-1590" y="1171459"/>
                      <a:pt x="1704" y="1164871"/>
                      <a:pt x="7822" y="1162518"/>
                    </a:cubicBezTo>
                    <a:cubicBezTo>
                      <a:pt x="102887" y="1127692"/>
                      <a:pt x="194657" y="1117339"/>
                      <a:pt x="280780" y="1132869"/>
                    </a:cubicBezTo>
                    <a:cubicBezTo>
                      <a:pt x="317018" y="1139457"/>
                      <a:pt x="342431" y="1148399"/>
                      <a:pt x="365021" y="1156399"/>
                    </a:cubicBezTo>
                    <a:cubicBezTo>
                      <a:pt x="395140" y="1167224"/>
                      <a:pt x="418671" y="1175695"/>
                      <a:pt x="457262" y="1172871"/>
                    </a:cubicBezTo>
                    <a:cubicBezTo>
                      <a:pt x="542443" y="1167224"/>
                      <a:pt x="645508" y="1111691"/>
                      <a:pt x="669510" y="1027921"/>
                    </a:cubicBezTo>
                    <a:cubicBezTo>
                      <a:pt x="685040" y="975212"/>
                      <a:pt x="665274" y="929092"/>
                      <a:pt x="626213" y="846263"/>
                    </a:cubicBezTo>
                    <a:cubicBezTo>
                      <a:pt x="584799" y="757787"/>
                      <a:pt x="546208" y="717785"/>
                      <a:pt x="515618" y="685312"/>
                    </a:cubicBezTo>
                    <a:cubicBezTo>
                      <a:pt x="485499" y="653781"/>
                      <a:pt x="461968" y="629309"/>
                      <a:pt x="450202" y="577070"/>
                    </a:cubicBezTo>
                    <a:cubicBezTo>
                      <a:pt x="432789" y="502242"/>
                      <a:pt x="457262" y="444827"/>
                      <a:pt x="479381" y="394471"/>
                    </a:cubicBezTo>
                    <a:cubicBezTo>
                      <a:pt x="501970" y="342232"/>
                      <a:pt x="521266" y="296583"/>
                      <a:pt x="494911" y="239638"/>
                    </a:cubicBezTo>
                    <a:cubicBezTo>
                      <a:pt x="473262" y="193047"/>
                      <a:pt x="429495" y="158221"/>
                      <a:pt x="363138" y="105041"/>
                    </a:cubicBezTo>
                    <a:cubicBezTo>
                      <a:pt x="323606" y="73510"/>
                      <a:pt x="281251" y="45744"/>
                      <a:pt x="237013" y="22213"/>
                    </a:cubicBezTo>
                    <a:cubicBezTo>
                      <a:pt x="231365" y="19389"/>
                      <a:pt x="229012" y="11859"/>
                      <a:pt x="232307" y="6212"/>
                    </a:cubicBezTo>
                    <a:cubicBezTo>
                      <a:pt x="235601" y="564"/>
                      <a:pt x="242660" y="-1789"/>
                      <a:pt x="248308" y="1506"/>
                    </a:cubicBezTo>
                    <a:cubicBezTo>
                      <a:pt x="293957" y="25978"/>
                      <a:pt x="337725" y="54685"/>
                      <a:pt x="378198" y="86687"/>
                    </a:cubicBezTo>
                    <a:cubicBezTo>
                      <a:pt x="447379" y="141750"/>
                      <a:pt x="493029" y="177987"/>
                      <a:pt x="516559" y="229755"/>
                    </a:cubicBezTo>
                    <a:cubicBezTo>
                      <a:pt x="547149" y="296112"/>
                      <a:pt x="523618" y="350704"/>
                      <a:pt x="501029" y="403883"/>
                    </a:cubicBezTo>
                    <a:cubicBezTo>
                      <a:pt x="479851" y="453298"/>
                      <a:pt x="457732" y="504595"/>
                      <a:pt x="473262" y="571893"/>
                    </a:cubicBezTo>
                    <a:cubicBezTo>
                      <a:pt x="484087" y="617543"/>
                      <a:pt x="504323" y="639192"/>
                      <a:pt x="533031" y="669311"/>
                    </a:cubicBezTo>
                    <a:cubicBezTo>
                      <a:pt x="565033" y="702725"/>
                      <a:pt x="605035" y="744610"/>
                      <a:pt x="647861" y="836380"/>
                    </a:cubicBezTo>
                    <a:cubicBezTo>
                      <a:pt x="684570" y="914502"/>
                      <a:pt x="710924" y="970977"/>
                      <a:pt x="692570" y="1034510"/>
                    </a:cubicBezTo>
                    <a:cubicBezTo>
                      <a:pt x="664333" y="1131928"/>
                      <a:pt x="551385" y="1190755"/>
                      <a:pt x="459144" y="1196402"/>
                    </a:cubicBezTo>
                    <a:cubicBezTo>
                      <a:pt x="453497" y="1196873"/>
                      <a:pt x="448320" y="1196873"/>
                      <a:pt x="443614" y="1196873"/>
                    </a:cubicBezTo>
                    <a:close/>
                  </a:path>
                </a:pathLst>
              </a:custGeom>
              <a:solidFill>
                <a:srgbClr val="7C2D64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iṥ1iďè">
                <a:extLst>
                  <a:ext uri="{FF2B5EF4-FFF2-40B4-BE49-F238E27FC236}">
                    <a16:creationId xmlns:a16="http://schemas.microsoft.com/office/drawing/2014/main" id="{DA297039-A7C0-406C-B1C3-4501F32D12FF}"/>
                  </a:ext>
                </a:extLst>
              </p:cNvPr>
              <p:cNvSpPr/>
              <p:nvPr/>
            </p:nvSpPr>
            <p:spPr>
              <a:xfrm>
                <a:off x="5195974" y="3372606"/>
                <a:ext cx="93258" cy="155411"/>
              </a:xfrm>
              <a:custGeom>
                <a:avLst/>
                <a:gdLst>
                  <a:gd name="connsiteX0" fmla="*/ 90632 w 93258"/>
                  <a:gd name="connsiteY0" fmla="*/ 68811 h 155411"/>
                  <a:gd name="connsiteX1" fmla="*/ 62395 w 93258"/>
                  <a:gd name="connsiteY1" fmla="*/ 154933 h 155411"/>
                  <a:gd name="connsiteX2" fmla="*/ 2627 w 93258"/>
                  <a:gd name="connsiteY2" fmla="*/ 86694 h 155411"/>
                  <a:gd name="connsiteX3" fmla="*/ 30864 w 93258"/>
                  <a:gd name="connsiteY3" fmla="*/ 571 h 155411"/>
                  <a:gd name="connsiteX4" fmla="*/ 90632 w 93258"/>
                  <a:gd name="connsiteY4" fmla="*/ 68811 h 155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258" h="155411">
                    <a:moveTo>
                      <a:pt x="90632" y="68811"/>
                    </a:moveTo>
                    <a:cubicBezTo>
                      <a:pt x="99103" y="111637"/>
                      <a:pt x="86396" y="150227"/>
                      <a:pt x="62395" y="154933"/>
                    </a:cubicBezTo>
                    <a:cubicBezTo>
                      <a:pt x="37923" y="159640"/>
                      <a:pt x="11568" y="129050"/>
                      <a:pt x="2627" y="86694"/>
                    </a:cubicBezTo>
                    <a:cubicBezTo>
                      <a:pt x="-5845" y="43868"/>
                      <a:pt x="6862" y="5277"/>
                      <a:pt x="30864" y="571"/>
                    </a:cubicBezTo>
                    <a:cubicBezTo>
                      <a:pt x="55336" y="-4606"/>
                      <a:pt x="82161" y="25985"/>
                      <a:pt x="90632" y="68811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íślïďé">
                <a:extLst>
                  <a:ext uri="{FF2B5EF4-FFF2-40B4-BE49-F238E27FC236}">
                    <a16:creationId xmlns:a16="http://schemas.microsoft.com/office/drawing/2014/main" id="{0AF12556-D1AB-4A38-A803-FE466DF9B1FB}"/>
                  </a:ext>
                </a:extLst>
              </p:cNvPr>
              <p:cNvSpPr/>
              <p:nvPr/>
            </p:nvSpPr>
            <p:spPr>
              <a:xfrm>
                <a:off x="5656708" y="3372606"/>
                <a:ext cx="93258" cy="155411"/>
              </a:xfrm>
              <a:custGeom>
                <a:avLst/>
                <a:gdLst>
                  <a:gd name="connsiteX0" fmla="*/ 2627 w 93258"/>
                  <a:gd name="connsiteY0" fmla="*/ 68811 h 155411"/>
                  <a:gd name="connsiteX1" fmla="*/ 30863 w 93258"/>
                  <a:gd name="connsiteY1" fmla="*/ 154933 h 155411"/>
                  <a:gd name="connsiteX2" fmla="*/ 90632 w 93258"/>
                  <a:gd name="connsiteY2" fmla="*/ 86694 h 155411"/>
                  <a:gd name="connsiteX3" fmla="*/ 62395 w 93258"/>
                  <a:gd name="connsiteY3" fmla="*/ 571 h 155411"/>
                  <a:gd name="connsiteX4" fmla="*/ 2627 w 93258"/>
                  <a:gd name="connsiteY4" fmla="*/ 68811 h 155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3258" h="155411">
                    <a:moveTo>
                      <a:pt x="2627" y="68811"/>
                    </a:moveTo>
                    <a:cubicBezTo>
                      <a:pt x="-5845" y="111637"/>
                      <a:pt x="6862" y="150227"/>
                      <a:pt x="30863" y="154933"/>
                    </a:cubicBezTo>
                    <a:cubicBezTo>
                      <a:pt x="55336" y="159640"/>
                      <a:pt x="81690" y="129050"/>
                      <a:pt x="90632" y="86694"/>
                    </a:cubicBezTo>
                    <a:cubicBezTo>
                      <a:pt x="99103" y="43868"/>
                      <a:pt x="86396" y="5277"/>
                      <a:pt x="62395" y="571"/>
                    </a:cubicBezTo>
                    <a:cubicBezTo>
                      <a:pt x="37923" y="-4606"/>
                      <a:pt x="11098" y="25985"/>
                      <a:pt x="2627" y="68811"/>
                    </a:cubicBezTo>
                    <a:close/>
                  </a:path>
                </a:pathLst>
              </a:custGeom>
              <a:solidFill>
                <a:srgbClr val="FF8A66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íṡľîḑe">
                <a:extLst>
                  <a:ext uri="{FF2B5EF4-FFF2-40B4-BE49-F238E27FC236}">
                    <a16:creationId xmlns:a16="http://schemas.microsoft.com/office/drawing/2014/main" id="{5482385C-06DF-4108-81DB-D1671AA6B443}"/>
                  </a:ext>
                </a:extLst>
              </p:cNvPr>
              <p:cNvSpPr/>
              <p:nvPr/>
            </p:nvSpPr>
            <p:spPr>
              <a:xfrm>
                <a:off x="5344962" y="3451300"/>
                <a:ext cx="32943" cy="52709"/>
              </a:xfrm>
              <a:custGeom>
                <a:avLst/>
                <a:gdLst>
                  <a:gd name="connsiteX0" fmla="*/ 32943 w 32943"/>
                  <a:gd name="connsiteY0" fmla="*/ 26355 h 52709"/>
                  <a:gd name="connsiteX1" fmla="*/ 16472 w 32943"/>
                  <a:gd name="connsiteY1" fmla="*/ 52709 h 52709"/>
                  <a:gd name="connsiteX2" fmla="*/ 0 w 32943"/>
                  <a:gd name="connsiteY2" fmla="*/ 26355 h 52709"/>
                  <a:gd name="connsiteX3" fmla="*/ 16472 w 32943"/>
                  <a:gd name="connsiteY3" fmla="*/ 0 h 52709"/>
                  <a:gd name="connsiteX4" fmla="*/ 32943 w 32943"/>
                  <a:gd name="connsiteY4" fmla="*/ 26355 h 52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943" h="52709">
                    <a:moveTo>
                      <a:pt x="32943" y="26355"/>
                    </a:moveTo>
                    <a:cubicBezTo>
                      <a:pt x="32943" y="40910"/>
                      <a:pt x="25569" y="52709"/>
                      <a:pt x="16472" y="52709"/>
                    </a:cubicBezTo>
                    <a:cubicBezTo>
                      <a:pt x="7375" y="52709"/>
                      <a:pt x="0" y="40910"/>
                      <a:pt x="0" y="26355"/>
                    </a:cubicBezTo>
                    <a:cubicBezTo>
                      <a:pt x="0" y="11799"/>
                      <a:pt x="7375" y="0"/>
                      <a:pt x="16472" y="0"/>
                    </a:cubicBezTo>
                    <a:cubicBezTo>
                      <a:pt x="25569" y="0"/>
                      <a:pt x="32943" y="11799"/>
                      <a:pt x="32943" y="26355"/>
                    </a:cubicBezTo>
                    <a:close/>
                  </a:path>
                </a:pathLst>
              </a:custGeom>
              <a:solidFill>
                <a:srgbClr val="011531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ïŝľïḑé">
                <a:extLst>
                  <a:ext uri="{FF2B5EF4-FFF2-40B4-BE49-F238E27FC236}">
                    <a16:creationId xmlns:a16="http://schemas.microsoft.com/office/drawing/2014/main" id="{6B528F02-83DA-4EA9-AEF5-979E68B0EB75}"/>
                  </a:ext>
                </a:extLst>
              </p:cNvPr>
              <p:cNvSpPr/>
              <p:nvPr/>
            </p:nvSpPr>
            <p:spPr>
              <a:xfrm>
                <a:off x="5592507" y="3449888"/>
                <a:ext cx="32943" cy="52709"/>
              </a:xfrm>
              <a:custGeom>
                <a:avLst/>
                <a:gdLst>
                  <a:gd name="connsiteX0" fmla="*/ 32943 w 32943"/>
                  <a:gd name="connsiteY0" fmla="*/ 26354 h 52709"/>
                  <a:gd name="connsiteX1" fmla="*/ 16472 w 32943"/>
                  <a:gd name="connsiteY1" fmla="*/ 52709 h 52709"/>
                  <a:gd name="connsiteX2" fmla="*/ 0 w 32943"/>
                  <a:gd name="connsiteY2" fmla="*/ 26354 h 52709"/>
                  <a:gd name="connsiteX3" fmla="*/ 16472 w 32943"/>
                  <a:gd name="connsiteY3" fmla="*/ 0 h 52709"/>
                  <a:gd name="connsiteX4" fmla="*/ 32943 w 32943"/>
                  <a:gd name="connsiteY4" fmla="*/ 26354 h 52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943" h="52709">
                    <a:moveTo>
                      <a:pt x="32943" y="26354"/>
                    </a:moveTo>
                    <a:cubicBezTo>
                      <a:pt x="32943" y="40910"/>
                      <a:pt x="25569" y="52709"/>
                      <a:pt x="16472" y="52709"/>
                    </a:cubicBezTo>
                    <a:cubicBezTo>
                      <a:pt x="7375" y="52709"/>
                      <a:pt x="0" y="40910"/>
                      <a:pt x="0" y="26354"/>
                    </a:cubicBezTo>
                    <a:cubicBezTo>
                      <a:pt x="0" y="11799"/>
                      <a:pt x="7375" y="0"/>
                      <a:pt x="16472" y="0"/>
                    </a:cubicBezTo>
                    <a:cubicBezTo>
                      <a:pt x="25569" y="0"/>
                      <a:pt x="32943" y="11799"/>
                      <a:pt x="32943" y="26354"/>
                    </a:cubicBezTo>
                    <a:close/>
                  </a:path>
                </a:pathLst>
              </a:custGeom>
              <a:solidFill>
                <a:srgbClr val="011531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îŝḻiḓe">
                <a:extLst>
                  <a:ext uri="{FF2B5EF4-FFF2-40B4-BE49-F238E27FC236}">
                    <a16:creationId xmlns:a16="http://schemas.microsoft.com/office/drawing/2014/main" id="{E5102111-0CF9-4C63-8139-B66BE8AE9099}"/>
                  </a:ext>
                </a:extLst>
              </p:cNvPr>
              <p:cNvSpPr/>
              <p:nvPr/>
            </p:nvSpPr>
            <p:spPr>
              <a:xfrm>
                <a:off x="5463893" y="3420168"/>
                <a:ext cx="48431" cy="168081"/>
              </a:xfrm>
              <a:custGeom>
                <a:avLst/>
                <a:gdLst>
                  <a:gd name="connsiteX0" fmla="*/ 18489 w 48431"/>
                  <a:gd name="connsiteY0" fmla="*/ 168082 h 168081"/>
                  <a:gd name="connsiteX1" fmla="*/ 14724 w 48431"/>
                  <a:gd name="connsiteY1" fmla="*/ 168082 h 168081"/>
                  <a:gd name="connsiteX2" fmla="*/ 9077 w 48431"/>
                  <a:gd name="connsiteY2" fmla="*/ 161964 h 168081"/>
                  <a:gd name="connsiteX3" fmla="*/ 15195 w 48431"/>
                  <a:gd name="connsiteY3" fmla="*/ 156316 h 168081"/>
                  <a:gd name="connsiteX4" fmla="*/ 18018 w 48431"/>
                  <a:gd name="connsiteY4" fmla="*/ 156316 h 168081"/>
                  <a:gd name="connsiteX5" fmla="*/ 36372 w 48431"/>
                  <a:gd name="connsiteY5" fmla="*/ 151140 h 168081"/>
                  <a:gd name="connsiteX6" fmla="*/ 27901 w 48431"/>
                  <a:gd name="connsiteY6" fmla="*/ 132785 h 168081"/>
                  <a:gd name="connsiteX7" fmla="*/ 20842 w 48431"/>
                  <a:gd name="connsiteY7" fmla="*/ 119608 h 168081"/>
                  <a:gd name="connsiteX8" fmla="*/ 10018 w 48431"/>
                  <a:gd name="connsiteY8" fmla="*/ 100784 h 168081"/>
                  <a:gd name="connsiteX9" fmla="*/ 6724 w 48431"/>
                  <a:gd name="connsiteY9" fmla="*/ 4778 h 168081"/>
                  <a:gd name="connsiteX10" fmla="*/ 13783 w 48431"/>
                  <a:gd name="connsiteY10" fmla="*/ 72 h 168081"/>
                  <a:gd name="connsiteX11" fmla="*/ 18489 w 48431"/>
                  <a:gd name="connsiteY11" fmla="*/ 7131 h 168081"/>
                  <a:gd name="connsiteX12" fmla="*/ 19901 w 48431"/>
                  <a:gd name="connsiteY12" fmla="*/ 94195 h 168081"/>
                  <a:gd name="connsiteX13" fmla="*/ 31196 w 48431"/>
                  <a:gd name="connsiteY13" fmla="*/ 113961 h 168081"/>
                  <a:gd name="connsiteX14" fmla="*/ 37314 w 48431"/>
                  <a:gd name="connsiteY14" fmla="*/ 124785 h 168081"/>
                  <a:gd name="connsiteX15" fmla="*/ 47197 w 48431"/>
                  <a:gd name="connsiteY15" fmla="*/ 155846 h 168081"/>
                  <a:gd name="connsiteX16" fmla="*/ 18489 w 48431"/>
                  <a:gd name="connsiteY16" fmla="*/ 168082 h 168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431" h="168081">
                    <a:moveTo>
                      <a:pt x="18489" y="168082"/>
                    </a:moveTo>
                    <a:cubicBezTo>
                      <a:pt x="17077" y="168082"/>
                      <a:pt x="16136" y="168082"/>
                      <a:pt x="14724" y="168082"/>
                    </a:cubicBezTo>
                    <a:cubicBezTo>
                      <a:pt x="11430" y="168082"/>
                      <a:pt x="9077" y="165258"/>
                      <a:pt x="9077" y="161964"/>
                    </a:cubicBezTo>
                    <a:cubicBezTo>
                      <a:pt x="9077" y="158669"/>
                      <a:pt x="11900" y="156316"/>
                      <a:pt x="15195" y="156316"/>
                    </a:cubicBezTo>
                    <a:cubicBezTo>
                      <a:pt x="16136" y="156316"/>
                      <a:pt x="17077" y="156316"/>
                      <a:pt x="18018" y="156316"/>
                    </a:cubicBezTo>
                    <a:cubicBezTo>
                      <a:pt x="27431" y="156316"/>
                      <a:pt x="34961" y="154434"/>
                      <a:pt x="36372" y="151140"/>
                    </a:cubicBezTo>
                    <a:cubicBezTo>
                      <a:pt x="37314" y="149257"/>
                      <a:pt x="33549" y="142668"/>
                      <a:pt x="27901" y="132785"/>
                    </a:cubicBezTo>
                    <a:cubicBezTo>
                      <a:pt x="24607" y="127138"/>
                      <a:pt x="22725" y="123373"/>
                      <a:pt x="20842" y="119608"/>
                    </a:cubicBezTo>
                    <a:cubicBezTo>
                      <a:pt x="17548" y="113020"/>
                      <a:pt x="13783" y="106902"/>
                      <a:pt x="10018" y="100784"/>
                    </a:cubicBezTo>
                    <a:cubicBezTo>
                      <a:pt x="-2218" y="81959"/>
                      <a:pt x="-3159" y="50428"/>
                      <a:pt x="6724" y="4778"/>
                    </a:cubicBezTo>
                    <a:cubicBezTo>
                      <a:pt x="7665" y="1483"/>
                      <a:pt x="10488" y="-399"/>
                      <a:pt x="13783" y="72"/>
                    </a:cubicBezTo>
                    <a:cubicBezTo>
                      <a:pt x="17077" y="542"/>
                      <a:pt x="18960" y="3836"/>
                      <a:pt x="18489" y="7131"/>
                    </a:cubicBezTo>
                    <a:cubicBezTo>
                      <a:pt x="9547" y="49016"/>
                      <a:pt x="10018" y="78194"/>
                      <a:pt x="19901" y="94195"/>
                    </a:cubicBezTo>
                    <a:cubicBezTo>
                      <a:pt x="24136" y="100784"/>
                      <a:pt x="27431" y="107372"/>
                      <a:pt x="31196" y="113961"/>
                    </a:cubicBezTo>
                    <a:cubicBezTo>
                      <a:pt x="33078" y="117726"/>
                      <a:pt x="34961" y="121491"/>
                      <a:pt x="37314" y="124785"/>
                    </a:cubicBezTo>
                    <a:cubicBezTo>
                      <a:pt x="47197" y="141727"/>
                      <a:pt x="50491" y="148316"/>
                      <a:pt x="47197" y="155846"/>
                    </a:cubicBezTo>
                    <a:cubicBezTo>
                      <a:pt x="42961" y="166199"/>
                      <a:pt x="28843" y="168082"/>
                      <a:pt x="18489" y="168082"/>
                    </a:cubicBezTo>
                    <a:close/>
                  </a:path>
                </a:pathLst>
              </a:custGeom>
              <a:solidFill>
                <a:srgbClr val="E25439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iŝlíḓé">
                <a:extLst>
                  <a:ext uri="{FF2B5EF4-FFF2-40B4-BE49-F238E27FC236}">
                    <a16:creationId xmlns:a16="http://schemas.microsoft.com/office/drawing/2014/main" id="{102A2601-5FE2-4B5C-A449-1E7DE39B0C29}"/>
                  </a:ext>
                </a:extLst>
              </p:cNvPr>
              <p:cNvSpPr/>
              <p:nvPr/>
            </p:nvSpPr>
            <p:spPr>
              <a:xfrm>
                <a:off x="5418372" y="3618369"/>
                <a:ext cx="121896" cy="62697"/>
              </a:xfrm>
              <a:custGeom>
                <a:avLst/>
                <a:gdLst>
                  <a:gd name="connsiteX0" fmla="*/ 121896 w 121896"/>
                  <a:gd name="connsiteY0" fmla="*/ 8471 h 62697"/>
                  <a:gd name="connsiteX1" fmla="*/ 57422 w 121896"/>
                  <a:gd name="connsiteY1" fmla="*/ 62592 h 62697"/>
                  <a:gd name="connsiteX2" fmla="*/ 6 w 121896"/>
                  <a:gd name="connsiteY2" fmla="*/ 0 h 62697"/>
                  <a:gd name="connsiteX3" fmla="*/ 59775 w 121896"/>
                  <a:gd name="connsiteY3" fmla="*/ 15060 h 62697"/>
                  <a:gd name="connsiteX4" fmla="*/ 121896 w 121896"/>
                  <a:gd name="connsiteY4" fmla="*/ 8471 h 62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896" h="62697">
                    <a:moveTo>
                      <a:pt x="121896" y="8471"/>
                    </a:moveTo>
                    <a:cubicBezTo>
                      <a:pt x="118131" y="40944"/>
                      <a:pt x="89424" y="64474"/>
                      <a:pt x="57422" y="62592"/>
                    </a:cubicBezTo>
                    <a:cubicBezTo>
                      <a:pt x="24949" y="60710"/>
                      <a:pt x="-464" y="32473"/>
                      <a:pt x="6" y="0"/>
                    </a:cubicBezTo>
                    <a:cubicBezTo>
                      <a:pt x="12713" y="5647"/>
                      <a:pt x="33420" y="13177"/>
                      <a:pt x="59775" y="15060"/>
                    </a:cubicBezTo>
                    <a:cubicBezTo>
                      <a:pt x="86600" y="16942"/>
                      <a:pt x="108248" y="12236"/>
                      <a:pt x="121896" y="8471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isļïḍe">
                <a:extLst>
                  <a:ext uri="{FF2B5EF4-FFF2-40B4-BE49-F238E27FC236}">
                    <a16:creationId xmlns:a16="http://schemas.microsoft.com/office/drawing/2014/main" id="{00EB332B-E062-4DFC-8E4A-600FEB708340}"/>
                  </a:ext>
                </a:extLst>
              </p:cNvPr>
              <p:cNvSpPr/>
              <p:nvPr/>
            </p:nvSpPr>
            <p:spPr>
              <a:xfrm>
                <a:off x="5196547" y="3007253"/>
                <a:ext cx="535340" cy="370220"/>
              </a:xfrm>
              <a:custGeom>
                <a:avLst/>
                <a:gdLst>
                  <a:gd name="connsiteX0" fmla="*/ 507025 w 535340"/>
                  <a:gd name="connsiteY0" fmla="*/ 367337 h 370220"/>
                  <a:gd name="connsiteX1" fmla="*/ 375723 w 535340"/>
                  <a:gd name="connsiteY1" fmla="*/ 328276 h 370220"/>
                  <a:gd name="connsiteX2" fmla="*/ 254775 w 535340"/>
                  <a:gd name="connsiteY2" fmla="*/ 297215 h 370220"/>
                  <a:gd name="connsiteX3" fmla="*/ 214772 w 535340"/>
                  <a:gd name="connsiteY3" fmla="*/ 253448 h 370220"/>
                  <a:gd name="connsiteX4" fmla="*/ 30290 w 535340"/>
                  <a:gd name="connsiteY4" fmla="*/ 365925 h 370220"/>
                  <a:gd name="connsiteX5" fmla="*/ 18054 w 535340"/>
                  <a:gd name="connsiteY5" fmla="*/ 175796 h 370220"/>
                  <a:gd name="connsiteX6" fmla="*/ 227479 w 535340"/>
                  <a:gd name="connsiteY6" fmla="*/ 2609 h 370220"/>
                  <a:gd name="connsiteX7" fmla="*/ 478318 w 535340"/>
                  <a:gd name="connsiteY7" fmla="*/ 112263 h 370220"/>
                  <a:gd name="connsiteX8" fmla="*/ 507025 w 535340"/>
                  <a:gd name="connsiteY8" fmla="*/ 367337 h 370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5340" h="370220">
                    <a:moveTo>
                      <a:pt x="507025" y="367337"/>
                    </a:moveTo>
                    <a:cubicBezTo>
                      <a:pt x="483024" y="380514"/>
                      <a:pt x="466552" y="345218"/>
                      <a:pt x="375723" y="328276"/>
                    </a:cubicBezTo>
                    <a:cubicBezTo>
                      <a:pt x="320190" y="317922"/>
                      <a:pt x="288659" y="324040"/>
                      <a:pt x="254775" y="297215"/>
                    </a:cubicBezTo>
                    <a:cubicBezTo>
                      <a:pt x="227949" y="276037"/>
                      <a:pt x="233126" y="259095"/>
                      <a:pt x="214772" y="253448"/>
                    </a:cubicBezTo>
                    <a:cubicBezTo>
                      <a:pt x="149827" y="232740"/>
                      <a:pt x="76881" y="382397"/>
                      <a:pt x="30290" y="365925"/>
                    </a:cubicBezTo>
                    <a:cubicBezTo>
                      <a:pt x="-4065" y="353689"/>
                      <a:pt x="-10653" y="253448"/>
                      <a:pt x="18054" y="175796"/>
                    </a:cubicBezTo>
                    <a:cubicBezTo>
                      <a:pt x="45821" y="100968"/>
                      <a:pt x="117354" y="18610"/>
                      <a:pt x="227479" y="2609"/>
                    </a:cubicBezTo>
                    <a:cubicBezTo>
                      <a:pt x="334779" y="-12921"/>
                      <a:pt x="428432" y="43082"/>
                      <a:pt x="478318" y="112263"/>
                    </a:cubicBezTo>
                    <a:cubicBezTo>
                      <a:pt x="547028" y="205915"/>
                      <a:pt x="549851" y="343806"/>
                      <a:pt x="507025" y="367337"/>
                    </a:cubicBezTo>
                    <a:close/>
                  </a:path>
                </a:pathLst>
              </a:custGeom>
              <a:solidFill>
                <a:srgbClr val="7C2D64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i$ḷíḋè">
                <a:extLst>
                  <a:ext uri="{FF2B5EF4-FFF2-40B4-BE49-F238E27FC236}">
                    <a16:creationId xmlns:a16="http://schemas.microsoft.com/office/drawing/2014/main" id="{C449A51B-B4F7-4350-B021-EF842F904CDF}"/>
                  </a:ext>
                </a:extLst>
              </p:cNvPr>
              <p:cNvSpPr/>
              <p:nvPr/>
            </p:nvSpPr>
            <p:spPr>
              <a:xfrm>
                <a:off x="5355733" y="2937676"/>
                <a:ext cx="72410" cy="289610"/>
              </a:xfrm>
              <a:custGeom>
                <a:avLst/>
                <a:gdLst>
                  <a:gd name="connsiteX0" fmla="*/ 64527 w 72410"/>
                  <a:gd name="connsiteY0" fmla="*/ 289611 h 289610"/>
                  <a:gd name="connsiteX1" fmla="*/ 60292 w 72410"/>
                  <a:gd name="connsiteY1" fmla="*/ 287728 h 289610"/>
                  <a:gd name="connsiteX2" fmla="*/ 53 w 72410"/>
                  <a:gd name="connsiteY2" fmla="*/ 150308 h 289610"/>
                  <a:gd name="connsiteX3" fmla="*/ 62174 w 72410"/>
                  <a:gd name="connsiteY3" fmla="*/ 1593 h 289610"/>
                  <a:gd name="connsiteX4" fmla="*/ 70645 w 72410"/>
                  <a:gd name="connsiteY4" fmla="*/ 1593 h 289610"/>
                  <a:gd name="connsiteX5" fmla="*/ 70645 w 72410"/>
                  <a:gd name="connsiteY5" fmla="*/ 10064 h 289610"/>
                  <a:gd name="connsiteX6" fmla="*/ 12289 w 72410"/>
                  <a:gd name="connsiteY6" fmla="*/ 149838 h 289610"/>
                  <a:gd name="connsiteX7" fmla="*/ 68763 w 72410"/>
                  <a:gd name="connsiteY7" fmla="*/ 279257 h 289610"/>
                  <a:gd name="connsiteX8" fmla="*/ 68763 w 72410"/>
                  <a:gd name="connsiteY8" fmla="*/ 287728 h 289610"/>
                  <a:gd name="connsiteX9" fmla="*/ 64527 w 72410"/>
                  <a:gd name="connsiteY9" fmla="*/ 289611 h 28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410" h="289610">
                    <a:moveTo>
                      <a:pt x="64527" y="289611"/>
                    </a:moveTo>
                    <a:cubicBezTo>
                      <a:pt x="63116" y="289611"/>
                      <a:pt x="61704" y="289140"/>
                      <a:pt x="60292" y="287728"/>
                    </a:cubicBezTo>
                    <a:cubicBezTo>
                      <a:pt x="42879" y="270786"/>
                      <a:pt x="1935" y="223254"/>
                      <a:pt x="53" y="150308"/>
                    </a:cubicBezTo>
                    <a:cubicBezTo>
                      <a:pt x="-1830" y="68891"/>
                      <a:pt x="47115" y="15712"/>
                      <a:pt x="62174" y="1593"/>
                    </a:cubicBezTo>
                    <a:cubicBezTo>
                      <a:pt x="64527" y="-760"/>
                      <a:pt x="68292" y="-289"/>
                      <a:pt x="70645" y="1593"/>
                    </a:cubicBezTo>
                    <a:cubicBezTo>
                      <a:pt x="72998" y="3946"/>
                      <a:pt x="72998" y="7711"/>
                      <a:pt x="70645" y="10064"/>
                    </a:cubicBezTo>
                    <a:cubicBezTo>
                      <a:pt x="56527" y="23712"/>
                      <a:pt x="10406" y="73598"/>
                      <a:pt x="12289" y="149838"/>
                    </a:cubicBezTo>
                    <a:cubicBezTo>
                      <a:pt x="14171" y="220430"/>
                      <a:pt x="56056" y="266551"/>
                      <a:pt x="68763" y="279257"/>
                    </a:cubicBezTo>
                    <a:cubicBezTo>
                      <a:pt x="71116" y="281610"/>
                      <a:pt x="71116" y="285375"/>
                      <a:pt x="68763" y="287728"/>
                    </a:cubicBezTo>
                    <a:cubicBezTo>
                      <a:pt x="67351" y="289140"/>
                      <a:pt x="65939" y="289611"/>
                      <a:pt x="64527" y="289611"/>
                    </a:cubicBezTo>
                    <a:close/>
                  </a:path>
                </a:pathLst>
              </a:custGeom>
              <a:solidFill>
                <a:srgbClr val="7C2D64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iṧľíḓé">
                <a:extLst>
                  <a:ext uri="{FF2B5EF4-FFF2-40B4-BE49-F238E27FC236}">
                    <a16:creationId xmlns:a16="http://schemas.microsoft.com/office/drawing/2014/main" id="{0F923A36-9B00-44E2-8D30-1528708AD679}"/>
                  </a:ext>
                </a:extLst>
              </p:cNvPr>
              <p:cNvSpPr/>
              <p:nvPr/>
            </p:nvSpPr>
            <p:spPr>
              <a:xfrm>
                <a:off x="5286821" y="3390596"/>
                <a:ext cx="116532" cy="43291"/>
              </a:xfrm>
              <a:custGeom>
                <a:avLst/>
                <a:gdLst>
                  <a:gd name="connsiteX0" fmla="*/ 104732 w 116532"/>
                  <a:gd name="connsiteY0" fmla="*/ 43291 h 43291"/>
                  <a:gd name="connsiteX1" fmla="*/ 97202 w 116532"/>
                  <a:gd name="connsiteY1" fmla="*/ 40468 h 43291"/>
                  <a:gd name="connsiteX2" fmla="*/ 60965 w 116532"/>
                  <a:gd name="connsiteY2" fmla="*/ 24467 h 43291"/>
                  <a:gd name="connsiteX3" fmla="*/ 17198 w 116532"/>
                  <a:gd name="connsiteY3" fmla="*/ 31996 h 43291"/>
                  <a:gd name="connsiteX4" fmla="*/ 1197 w 116532"/>
                  <a:gd name="connsiteY4" fmla="*/ 26820 h 43291"/>
                  <a:gd name="connsiteX5" fmla="*/ 6373 w 116532"/>
                  <a:gd name="connsiteY5" fmla="*/ 10819 h 43291"/>
                  <a:gd name="connsiteX6" fmla="*/ 64259 w 116532"/>
                  <a:gd name="connsiteY6" fmla="*/ 936 h 43291"/>
                  <a:gd name="connsiteX7" fmla="*/ 112262 w 116532"/>
                  <a:gd name="connsiteY7" fmla="*/ 22114 h 43291"/>
                  <a:gd name="connsiteX8" fmla="*/ 113674 w 116532"/>
                  <a:gd name="connsiteY8" fmla="*/ 38585 h 43291"/>
                  <a:gd name="connsiteX9" fmla="*/ 104732 w 116532"/>
                  <a:gd name="connsiteY9" fmla="*/ 43291 h 43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532" h="43291">
                    <a:moveTo>
                      <a:pt x="104732" y="43291"/>
                    </a:moveTo>
                    <a:cubicBezTo>
                      <a:pt x="101909" y="43291"/>
                      <a:pt x="99555" y="42350"/>
                      <a:pt x="97202" y="40468"/>
                    </a:cubicBezTo>
                    <a:cubicBezTo>
                      <a:pt x="90143" y="34349"/>
                      <a:pt x="77907" y="26820"/>
                      <a:pt x="60965" y="24467"/>
                    </a:cubicBezTo>
                    <a:cubicBezTo>
                      <a:pt x="41199" y="21643"/>
                      <a:pt x="24727" y="27761"/>
                      <a:pt x="17198" y="31996"/>
                    </a:cubicBezTo>
                    <a:cubicBezTo>
                      <a:pt x="11550" y="34820"/>
                      <a:pt x="4491" y="32938"/>
                      <a:pt x="1197" y="26820"/>
                    </a:cubicBezTo>
                    <a:cubicBezTo>
                      <a:pt x="-1627" y="21172"/>
                      <a:pt x="726" y="14113"/>
                      <a:pt x="6373" y="10819"/>
                    </a:cubicBezTo>
                    <a:cubicBezTo>
                      <a:pt x="16727" y="5642"/>
                      <a:pt x="37905" y="-2829"/>
                      <a:pt x="64259" y="936"/>
                    </a:cubicBezTo>
                    <a:cubicBezTo>
                      <a:pt x="86378" y="4230"/>
                      <a:pt x="102850" y="14113"/>
                      <a:pt x="112262" y="22114"/>
                    </a:cubicBezTo>
                    <a:cubicBezTo>
                      <a:pt x="117439" y="26349"/>
                      <a:pt x="117910" y="33879"/>
                      <a:pt x="113674" y="38585"/>
                    </a:cubicBezTo>
                    <a:cubicBezTo>
                      <a:pt x="111791" y="41879"/>
                      <a:pt x="108027" y="43291"/>
                      <a:pt x="104732" y="43291"/>
                    </a:cubicBezTo>
                    <a:close/>
                  </a:path>
                </a:pathLst>
              </a:custGeom>
              <a:solidFill>
                <a:srgbClr val="011531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ïṡḻíḍe">
                <a:extLst>
                  <a:ext uri="{FF2B5EF4-FFF2-40B4-BE49-F238E27FC236}">
                    <a16:creationId xmlns:a16="http://schemas.microsoft.com/office/drawing/2014/main" id="{BC48E703-6C2C-4503-8D58-C5F38103EB7B}"/>
                  </a:ext>
                </a:extLst>
              </p:cNvPr>
              <p:cNvSpPr/>
              <p:nvPr/>
            </p:nvSpPr>
            <p:spPr>
              <a:xfrm>
                <a:off x="5548388" y="3391067"/>
                <a:ext cx="116378" cy="42820"/>
              </a:xfrm>
              <a:custGeom>
                <a:avLst/>
                <a:gdLst>
                  <a:gd name="connsiteX0" fmla="*/ 11647 w 116378"/>
                  <a:gd name="connsiteY0" fmla="*/ 42821 h 42820"/>
                  <a:gd name="connsiteX1" fmla="*/ 2705 w 116378"/>
                  <a:gd name="connsiteY1" fmla="*/ 38585 h 42820"/>
                  <a:gd name="connsiteX2" fmla="*/ 4117 w 116378"/>
                  <a:gd name="connsiteY2" fmla="*/ 22113 h 42820"/>
                  <a:gd name="connsiteX3" fmla="*/ 52120 w 116378"/>
                  <a:gd name="connsiteY3" fmla="*/ 936 h 42820"/>
                  <a:gd name="connsiteX4" fmla="*/ 110006 w 116378"/>
                  <a:gd name="connsiteY4" fmla="*/ 10819 h 42820"/>
                  <a:gd name="connsiteX5" fmla="*/ 115182 w 116378"/>
                  <a:gd name="connsiteY5" fmla="*/ 26820 h 42820"/>
                  <a:gd name="connsiteX6" fmla="*/ 99181 w 116378"/>
                  <a:gd name="connsiteY6" fmla="*/ 31997 h 42820"/>
                  <a:gd name="connsiteX7" fmla="*/ 55414 w 116378"/>
                  <a:gd name="connsiteY7" fmla="*/ 24467 h 42820"/>
                  <a:gd name="connsiteX8" fmla="*/ 19176 w 116378"/>
                  <a:gd name="connsiteY8" fmla="*/ 40468 h 42820"/>
                  <a:gd name="connsiteX9" fmla="*/ 11647 w 116378"/>
                  <a:gd name="connsiteY9" fmla="*/ 42821 h 42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78" h="42820">
                    <a:moveTo>
                      <a:pt x="11647" y="42821"/>
                    </a:moveTo>
                    <a:cubicBezTo>
                      <a:pt x="8352" y="42821"/>
                      <a:pt x="5058" y="41409"/>
                      <a:pt x="2705" y="38585"/>
                    </a:cubicBezTo>
                    <a:cubicBezTo>
                      <a:pt x="-1531" y="33408"/>
                      <a:pt x="-589" y="26349"/>
                      <a:pt x="4117" y="22113"/>
                    </a:cubicBezTo>
                    <a:cubicBezTo>
                      <a:pt x="13529" y="14113"/>
                      <a:pt x="30001" y="4230"/>
                      <a:pt x="52120" y="936"/>
                    </a:cubicBezTo>
                    <a:cubicBezTo>
                      <a:pt x="78474" y="-2829"/>
                      <a:pt x="99652" y="5642"/>
                      <a:pt x="110006" y="10819"/>
                    </a:cubicBezTo>
                    <a:cubicBezTo>
                      <a:pt x="115653" y="13642"/>
                      <a:pt x="118006" y="20702"/>
                      <a:pt x="115182" y="26820"/>
                    </a:cubicBezTo>
                    <a:cubicBezTo>
                      <a:pt x="112359" y="32467"/>
                      <a:pt x="105299" y="34820"/>
                      <a:pt x="99181" y="31997"/>
                    </a:cubicBezTo>
                    <a:cubicBezTo>
                      <a:pt x="91181" y="28231"/>
                      <a:pt x="75180" y="21643"/>
                      <a:pt x="55414" y="24467"/>
                    </a:cubicBezTo>
                    <a:cubicBezTo>
                      <a:pt x="38472" y="26820"/>
                      <a:pt x="26236" y="34350"/>
                      <a:pt x="19176" y="40468"/>
                    </a:cubicBezTo>
                    <a:cubicBezTo>
                      <a:pt x="16823" y="41879"/>
                      <a:pt x="14000" y="42821"/>
                      <a:pt x="11647" y="42821"/>
                    </a:cubicBezTo>
                    <a:close/>
                  </a:path>
                </a:pathLst>
              </a:custGeom>
              <a:solidFill>
                <a:srgbClr val="011531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2" name="í$ļïḓe">
              <a:extLst>
                <a:ext uri="{FF2B5EF4-FFF2-40B4-BE49-F238E27FC236}">
                  <a16:creationId xmlns:a16="http://schemas.microsoft.com/office/drawing/2014/main" id="{AB57A7B2-7171-4919-B4BC-CFAA01122DD7}"/>
                </a:ext>
              </a:extLst>
            </p:cNvPr>
            <p:cNvGrpSpPr/>
            <p:nvPr/>
          </p:nvGrpSpPr>
          <p:grpSpPr>
            <a:xfrm>
              <a:off x="6247431" y="5045268"/>
              <a:ext cx="1357245" cy="970965"/>
              <a:chOff x="5502790" y="5185764"/>
              <a:chExt cx="836346" cy="598317"/>
            </a:xfrm>
          </p:grpSpPr>
          <p:sp>
            <p:nvSpPr>
              <p:cNvPr id="63" name="íšļïḑè">
                <a:extLst>
                  <a:ext uri="{FF2B5EF4-FFF2-40B4-BE49-F238E27FC236}">
                    <a16:creationId xmlns:a16="http://schemas.microsoft.com/office/drawing/2014/main" id="{14EC3D93-FB6B-45C5-ABF2-9238ECB7EC26}"/>
                  </a:ext>
                </a:extLst>
              </p:cNvPr>
              <p:cNvSpPr/>
              <p:nvPr/>
            </p:nvSpPr>
            <p:spPr>
              <a:xfrm>
                <a:off x="5502790" y="5185764"/>
                <a:ext cx="836346" cy="598317"/>
              </a:xfrm>
              <a:custGeom>
                <a:avLst/>
                <a:gdLst>
                  <a:gd name="connsiteX0" fmla="*/ 554216 w 836346"/>
                  <a:gd name="connsiteY0" fmla="*/ 459552 h 598317"/>
                  <a:gd name="connsiteX1" fmla="*/ 1712 w 836346"/>
                  <a:gd name="connsiteY1" fmla="*/ 561676 h 598317"/>
                  <a:gd name="connsiteX2" fmla="*/ 63833 w 836346"/>
                  <a:gd name="connsiteY2" fmla="*/ 458140 h 598317"/>
                  <a:gd name="connsiteX3" fmla="*/ 333026 w 836346"/>
                  <a:gd name="connsiteY3" fmla="*/ 157887 h 598317"/>
                  <a:gd name="connsiteX4" fmla="*/ 824350 w 836346"/>
                  <a:gd name="connsiteY4" fmla="*/ 28938 h 598317"/>
                  <a:gd name="connsiteX5" fmla="*/ 554216 w 836346"/>
                  <a:gd name="connsiteY5" fmla="*/ 459552 h 598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6346" h="598317">
                    <a:moveTo>
                      <a:pt x="554216" y="459552"/>
                    </a:moveTo>
                    <a:cubicBezTo>
                      <a:pt x="333497" y="613444"/>
                      <a:pt x="28537" y="626151"/>
                      <a:pt x="1712" y="561676"/>
                    </a:cubicBezTo>
                    <a:cubicBezTo>
                      <a:pt x="-5347" y="544734"/>
                      <a:pt x="8300" y="525438"/>
                      <a:pt x="63833" y="458140"/>
                    </a:cubicBezTo>
                    <a:cubicBezTo>
                      <a:pt x="208313" y="284012"/>
                      <a:pt x="280788" y="196948"/>
                      <a:pt x="333026" y="157887"/>
                    </a:cubicBezTo>
                    <a:cubicBezTo>
                      <a:pt x="500095" y="34115"/>
                      <a:pt x="767876" y="-45890"/>
                      <a:pt x="824350" y="28938"/>
                    </a:cubicBezTo>
                    <a:cubicBezTo>
                      <a:pt x="879412" y="102354"/>
                      <a:pt x="737286" y="332015"/>
                      <a:pt x="554216" y="459552"/>
                    </a:cubicBezTo>
                    <a:close/>
                  </a:path>
                </a:pathLst>
              </a:custGeom>
              <a:solidFill>
                <a:srgbClr val="FFE845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îSlíḑè">
                <a:extLst>
                  <a:ext uri="{FF2B5EF4-FFF2-40B4-BE49-F238E27FC236}">
                    <a16:creationId xmlns:a16="http://schemas.microsoft.com/office/drawing/2014/main" id="{6F5A6486-98D5-439C-B942-7366177CFF14}"/>
                  </a:ext>
                </a:extLst>
              </p:cNvPr>
              <p:cNvSpPr/>
              <p:nvPr/>
            </p:nvSpPr>
            <p:spPr>
              <a:xfrm>
                <a:off x="5503080" y="5209642"/>
                <a:ext cx="830060" cy="551445"/>
              </a:xfrm>
              <a:custGeom>
                <a:avLst/>
                <a:gdLst>
                  <a:gd name="connsiteX0" fmla="*/ 6128 w 830060"/>
                  <a:gd name="connsiteY0" fmla="*/ 551445 h 551445"/>
                  <a:gd name="connsiteX1" fmla="*/ 480 w 830060"/>
                  <a:gd name="connsiteY1" fmla="*/ 547680 h 551445"/>
                  <a:gd name="connsiteX2" fmla="*/ 3774 w 830060"/>
                  <a:gd name="connsiteY2" fmla="*/ 540150 h 551445"/>
                  <a:gd name="connsiteX3" fmla="*/ 301204 w 830060"/>
                  <a:gd name="connsiteY3" fmla="*/ 397083 h 551445"/>
                  <a:gd name="connsiteX4" fmla="*/ 567103 w 830060"/>
                  <a:gd name="connsiteY4" fmla="*/ 222484 h 551445"/>
                  <a:gd name="connsiteX5" fmla="*/ 587340 w 830060"/>
                  <a:gd name="connsiteY5" fmla="*/ 206954 h 551445"/>
                  <a:gd name="connsiteX6" fmla="*/ 593457 w 830060"/>
                  <a:gd name="connsiteY6" fmla="*/ 202248 h 551445"/>
                  <a:gd name="connsiteX7" fmla="*/ 819824 w 830060"/>
                  <a:gd name="connsiteY7" fmla="*/ 1765 h 551445"/>
                  <a:gd name="connsiteX8" fmla="*/ 828295 w 830060"/>
                  <a:gd name="connsiteY8" fmla="*/ 1765 h 551445"/>
                  <a:gd name="connsiteX9" fmla="*/ 828295 w 830060"/>
                  <a:gd name="connsiteY9" fmla="*/ 10236 h 551445"/>
                  <a:gd name="connsiteX10" fmla="*/ 600987 w 830060"/>
                  <a:gd name="connsiteY10" fmla="*/ 211660 h 551445"/>
                  <a:gd name="connsiteX11" fmla="*/ 594869 w 830060"/>
                  <a:gd name="connsiteY11" fmla="*/ 216366 h 551445"/>
                  <a:gd name="connsiteX12" fmla="*/ 574633 w 830060"/>
                  <a:gd name="connsiteY12" fmla="*/ 231897 h 551445"/>
                  <a:gd name="connsiteX13" fmla="*/ 307322 w 830060"/>
                  <a:gd name="connsiteY13" fmla="*/ 407436 h 551445"/>
                  <a:gd name="connsiteX14" fmla="*/ 8481 w 830060"/>
                  <a:gd name="connsiteY14" fmla="*/ 550975 h 551445"/>
                  <a:gd name="connsiteX15" fmla="*/ 6128 w 830060"/>
                  <a:gd name="connsiteY15" fmla="*/ 551445 h 551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30060" h="551445">
                    <a:moveTo>
                      <a:pt x="6128" y="551445"/>
                    </a:moveTo>
                    <a:cubicBezTo>
                      <a:pt x="3774" y="551445"/>
                      <a:pt x="1421" y="550034"/>
                      <a:pt x="480" y="547680"/>
                    </a:cubicBezTo>
                    <a:cubicBezTo>
                      <a:pt x="-932" y="544857"/>
                      <a:pt x="951" y="541092"/>
                      <a:pt x="3774" y="540150"/>
                    </a:cubicBezTo>
                    <a:cubicBezTo>
                      <a:pt x="105898" y="499207"/>
                      <a:pt x="206140" y="451204"/>
                      <a:pt x="301204" y="397083"/>
                    </a:cubicBezTo>
                    <a:cubicBezTo>
                      <a:pt x="393445" y="344845"/>
                      <a:pt x="482863" y="286018"/>
                      <a:pt x="567103" y="222484"/>
                    </a:cubicBezTo>
                    <a:cubicBezTo>
                      <a:pt x="573692" y="217308"/>
                      <a:pt x="580751" y="212131"/>
                      <a:pt x="587340" y="206954"/>
                    </a:cubicBezTo>
                    <a:lnTo>
                      <a:pt x="593457" y="202248"/>
                    </a:lnTo>
                    <a:cubicBezTo>
                      <a:pt x="672992" y="140126"/>
                      <a:pt x="749232" y="72828"/>
                      <a:pt x="819824" y="1765"/>
                    </a:cubicBezTo>
                    <a:cubicBezTo>
                      <a:pt x="822177" y="-588"/>
                      <a:pt x="825942" y="-588"/>
                      <a:pt x="828295" y="1765"/>
                    </a:cubicBezTo>
                    <a:cubicBezTo>
                      <a:pt x="830648" y="4118"/>
                      <a:pt x="830648" y="7883"/>
                      <a:pt x="828295" y="10236"/>
                    </a:cubicBezTo>
                    <a:cubicBezTo>
                      <a:pt x="757232" y="81299"/>
                      <a:pt x="680992" y="149068"/>
                      <a:pt x="600987" y="211660"/>
                    </a:cubicBezTo>
                    <a:lnTo>
                      <a:pt x="594869" y="216366"/>
                    </a:lnTo>
                    <a:cubicBezTo>
                      <a:pt x="588281" y="221543"/>
                      <a:pt x="581221" y="226720"/>
                      <a:pt x="574633" y="231897"/>
                    </a:cubicBezTo>
                    <a:cubicBezTo>
                      <a:pt x="489922" y="295900"/>
                      <a:pt x="400034" y="354728"/>
                      <a:pt x="307322" y="407436"/>
                    </a:cubicBezTo>
                    <a:cubicBezTo>
                      <a:pt x="211787" y="461557"/>
                      <a:pt x="111075" y="510031"/>
                      <a:pt x="8481" y="550975"/>
                    </a:cubicBezTo>
                    <a:cubicBezTo>
                      <a:pt x="7539" y="551445"/>
                      <a:pt x="7069" y="551445"/>
                      <a:pt x="6128" y="551445"/>
                    </a:cubicBezTo>
                    <a:close/>
                  </a:path>
                </a:pathLst>
              </a:custGeom>
              <a:solidFill>
                <a:srgbClr val="6A79D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ï$ľíde">
                <a:extLst>
                  <a:ext uri="{FF2B5EF4-FFF2-40B4-BE49-F238E27FC236}">
                    <a16:creationId xmlns:a16="http://schemas.microsoft.com/office/drawing/2014/main" id="{A5684EF5-DDE2-466A-BD09-3C58620374EC}"/>
                  </a:ext>
                </a:extLst>
              </p:cNvPr>
              <p:cNvSpPr/>
              <p:nvPr/>
            </p:nvSpPr>
            <p:spPr>
              <a:xfrm>
                <a:off x="6077182" y="5215112"/>
                <a:ext cx="30239" cy="210896"/>
              </a:xfrm>
              <a:custGeom>
                <a:avLst/>
                <a:gdLst>
                  <a:gd name="connsiteX0" fmla="*/ 24061 w 30239"/>
                  <a:gd name="connsiteY0" fmla="*/ 210896 h 210896"/>
                  <a:gd name="connsiteX1" fmla="*/ 18414 w 30239"/>
                  <a:gd name="connsiteY1" fmla="*/ 205719 h 210896"/>
                  <a:gd name="connsiteX2" fmla="*/ 60 w 30239"/>
                  <a:gd name="connsiteY2" fmla="*/ 6649 h 210896"/>
                  <a:gd name="connsiteX3" fmla="*/ 5237 w 30239"/>
                  <a:gd name="connsiteY3" fmla="*/ 60 h 210896"/>
                  <a:gd name="connsiteX4" fmla="*/ 11825 w 30239"/>
                  <a:gd name="connsiteY4" fmla="*/ 5236 h 210896"/>
                  <a:gd name="connsiteX5" fmla="*/ 30179 w 30239"/>
                  <a:gd name="connsiteY5" fmla="*/ 204308 h 210896"/>
                  <a:gd name="connsiteX6" fmla="*/ 25003 w 30239"/>
                  <a:gd name="connsiteY6" fmla="*/ 210896 h 210896"/>
                  <a:gd name="connsiteX7" fmla="*/ 24061 w 30239"/>
                  <a:gd name="connsiteY7" fmla="*/ 210896 h 210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239" h="210896">
                    <a:moveTo>
                      <a:pt x="24061" y="210896"/>
                    </a:moveTo>
                    <a:cubicBezTo>
                      <a:pt x="21238" y="210896"/>
                      <a:pt x="18414" y="208543"/>
                      <a:pt x="18414" y="205719"/>
                    </a:cubicBezTo>
                    <a:lnTo>
                      <a:pt x="60" y="6649"/>
                    </a:lnTo>
                    <a:cubicBezTo>
                      <a:pt x="-410" y="3354"/>
                      <a:pt x="1942" y="530"/>
                      <a:pt x="5237" y="60"/>
                    </a:cubicBezTo>
                    <a:cubicBezTo>
                      <a:pt x="8531" y="-411"/>
                      <a:pt x="11355" y="1942"/>
                      <a:pt x="11825" y="5236"/>
                    </a:cubicBezTo>
                    <a:lnTo>
                      <a:pt x="30179" y="204308"/>
                    </a:lnTo>
                    <a:cubicBezTo>
                      <a:pt x="30650" y="207602"/>
                      <a:pt x="28297" y="210425"/>
                      <a:pt x="25003" y="210896"/>
                    </a:cubicBezTo>
                    <a:cubicBezTo>
                      <a:pt x="24532" y="210896"/>
                      <a:pt x="24532" y="210896"/>
                      <a:pt x="24061" y="210896"/>
                    </a:cubicBezTo>
                    <a:close/>
                  </a:path>
                </a:pathLst>
              </a:custGeom>
              <a:solidFill>
                <a:srgbClr val="6A79D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ïšḻîḑè">
                <a:extLst>
                  <a:ext uri="{FF2B5EF4-FFF2-40B4-BE49-F238E27FC236}">
                    <a16:creationId xmlns:a16="http://schemas.microsoft.com/office/drawing/2014/main" id="{C93F8A57-61FA-4B85-914D-E004B7E57273}"/>
                  </a:ext>
                </a:extLst>
              </p:cNvPr>
              <p:cNvSpPr/>
              <p:nvPr/>
            </p:nvSpPr>
            <p:spPr>
              <a:xfrm>
                <a:off x="5801645" y="5606010"/>
                <a:ext cx="208585" cy="78367"/>
              </a:xfrm>
              <a:custGeom>
                <a:avLst/>
                <a:gdLst>
                  <a:gd name="connsiteX0" fmla="*/ 202652 w 208585"/>
                  <a:gd name="connsiteY0" fmla="*/ 78367 h 78367"/>
                  <a:gd name="connsiteX1" fmla="*/ 4051 w 208585"/>
                  <a:gd name="connsiteY1" fmla="*/ 11540 h 78367"/>
                  <a:gd name="connsiteX2" fmla="*/ 286 w 208585"/>
                  <a:gd name="connsiteY2" fmla="*/ 4010 h 78367"/>
                  <a:gd name="connsiteX3" fmla="*/ 7816 w 208585"/>
                  <a:gd name="connsiteY3" fmla="*/ 245 h 78367"/>
                  <a:gd name="connsiteX4" fmla="*/ 204534 w 208585"/>
                  <a:gd name="connsiteY4" fmla="*/ 66602 h 78367"/>
                  <a:gd name="connsiteX5" fmla="*/ 208299 w 208585"/>
                  <a:gd name="connsiteY5" fmla="*/ 74132 h 78367"/>
                  <a:gd name="connsiteX6" fmla="*/ 202652 w 208585"/>
                  <a:gd name="connsiteY6" fmla="*/ 78367 h 78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8585" h="78367">
                    <a:moveTo>
                      <a:pt x="202652" y="78367"/>
                    </a:moveTo>
                    <a:cubicBezTo>
                      <a:pt x="200769" y="77897"/>
                      <a:pt x="4051" y="11540"/>
                      <a:pt x="4051" y="11540"/>
                    </a:cubicBezTo>
                    <a:cubicBezTo>
                      <a:pt x="757" y="10599"/>
                      <a:pt x="-655" y="7304"/>
                      <a:pt x="286" y="4010"/>
                    </a:cubicBezTo>
                    <a:cubicBezTo>
                      <a:pt x="1228" y="1186"/>
                      <a:pt x="4992" y="-697"/>
                      <a:pt x="7816" y="245"/>
                    </a:cubicBezTo>
                    <a:lnTo>
                      <a:pt x="204534" y="66602"/>
                    </a:lnTo>
                    <a:cubicBezTo>
                      <a:pt x="207828" y="67543"/>
                      <a:pt x="209240" y="70837"/>
                      <a:pt x="208299" y="74132"/>
                    </a:cubicBezTo>
                    <a:cubicBezTo>
                      <a:pt x="207358" y="76955"/>
                      <a:pt x="205004" y="78367"/>
                      <a:pt x="202652" y="78367"/>
                    </a:cubicBezTo>
                    <a:close/>
                  </a:path>
                </a:pathLst>
              </a:custGeom>
              <a:solidFill>
                <a:srgbClr val="6A79D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3" name="îṣḷíḍe">
              <a:extLst>
                <a:ext uri="{FF2B5EF4-FFF2-40B4-BE49-F238E27FC236}">
                  <a16:creationId xmlns:a16="http://schemas.microsoft.com/office/drawing/2014/main" id="{2E6D2573-1966-4C3D-A188-4A0469FF7254}"/>
                </a:ext>
              </a:extLst>
            </p:cNvPr>
            <p:cNvGrpSpPr/>
            <p:nvPr/>
          </p:nvGrpSpPr>
          <p:grpSpPr>
            <a:xfrm>
              <a:off x="6166186" y="4963075"/>
              <a:ext cx="371424" cy="900520"/>
              <a:chOff x="5452726" y="5135116"/>
              <a:chExt cx="228875" cy="554908"/>
            </a:xfrm>
          </p:grpSpPr>
          <p:sp>
            <p:nvSpPr>
              <p:cNvPr id="60" name="îśļîdè">
                <a:extLst>
                  <a:ext uri="{FF2B5EF4-FFF2-40B4-BE49-F238E27FC236}">
                    <a16:creationId xmlns:a16="http://schemas.microsoft.com/office/drawing/2014/main" id="{02AF8601-0B4A-42CC-86CB-5155B55756C3}"/>
                  </a:ext>
                </a:extLst>
              </p:cNvPr>
              <p:cNvSpPr/>
              <p:nvPr/>
            </p:nvSpPr>
            <p:spPr>
              <a:xfrm>
                <a:off x="5452726" y="5139737"/>
                <a:ext cx="228875" cy="544516"/>
              </a:xfrm>
              <a:custGeom>
                <a:avLst/>
                <a:gdLst>
                  <a:gd name="connsiteX0" fmla="*/ 215550 w 228875"/>
                  <a:gd name="connsiteY0" fmla="*/ 289566 h 544516"/>
                  <a:gd name="connsiteX1" fmla="*/ 15067 w 228875"/>
                  <a:gd name="connsiteY1" fmla="*/ 542758 h 544516"/>
                  <a:gd name="connsiteX2" fmla="*/ 2831 w 228875"/>
                  <a:gd name="connsiteY2" fmla="*/ 474518 h 544516"/>
                  <a:gd name="connsiteX3" fmla="*/ 5655 w 228875"/>
                  <a:gd name="connsiteY3" fmla="*/ 242504 h 544516"/>
                  <a:gd name="connsiteX4" fmla="*/ 169900 w 228875"/>
                  <a:gd name="connsiteY4" fmla="*/ 607 h 544516"/>
                  <a:gd name="connsiteX5" fmla="*/ 215550 w 228875"/>
                  <a:gd name="connsiteY5" fmla="*/ 289566 h 54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875" h="544516">
                    <a:moveTo>
                      <a:pt x="215550" y="289566"/>
                    </a:moveTo>
                    <a:cubicBezTo>
                      <a:pt x="178371" y="439693"/>
                      <a:pt x="50834" y="560641"/>
                      <a:pt x="15067" y="542758"/>
                    </a:cubicBezTo>
                    <a:cubicBezTo>
                      <a:pt x="5655" y="538051"/>
                      <a:pt x="4243" y="524403"/>
                      <a:pt x="2831" y="474518"/>
                    </a:cubicBezTo>
                    <a:cubicBezTo>
                      <a:pt x="-463" y="344628"/>
                      <a:pt x="-2346" y="279212"/>
                      <a:pt x="5655" y="242504"/>
                    </a:cubicBezTo>
                    <a:cubicBezTo>
                      <a:pt x="31068" y="125791"/>
                      <a:pt x="116720" y="-10217"/>
                      <a:pt x="169900" y="607"/>
                    </a:cubicBezTo>
                    <a:cubicBezTo>
                      <a:pt x="221197" y="11902"/>
                      <a:pt x="246140" y="165323"/>
                      <a:pt x="215550" y="2895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ï$liḓé">
                <a:extLst>
                  <a:ext uri="{FF2B5EF4-FFF2-40B4-BE49-F238E27FC236}">
                    <a16:creationId xmlns:a16="http://schemas.microsoft.com/office/drawing/2014/main" id="{B21FC163-A732-4DE2-9DA2-8AEF6A83B28E}"/>
                  </a:ext>
                </a:extLst>
              </p:cNvPr>
              <p:cNvSpPr/>
              <p:nvPr/>
            </p:nvSpPr>
            <p:spPr>
              <a:xfrm>
                <a:off x="5466465" y="5135116"/>
                <a:ext cx="161807" cy="554908"/>
              </a:xfrm>
              <a:custGeom>
                <a:avLst/>
                <a:gdLst>
                  <a:gd name="connsiteX0" fmla="*/ 6034 w 161807"/>
                  <a:gd name="connsiteY0" fmla="*/ 554909 h 554908"/>
                  <a:gd name="connsiteX1" fmla="*/ 3210 w 161807"/>
                  <a:gd name="connsiteY1" fmla="*/ 554438 h 554908"/>
                  <a:gd name="connsiteX2" fmla="*/ 857 w 161807"/>
                  <a:gd name="connsiteY2" fmla="*/ 546438 h 554908"/>
                  <a:gd name="connsiteX3" fmla="*/ 75215 w 161807"/>
                  <a:gd name="connsiteY3" fmla="*/ 372310 h 554908"/>
                  <a:gd name="connsiteX4" fmla="*/ 124159 w 161807"/>
                  <a:gd name="connsiteY4" fmla="*/ 196299 h 554908"/>
                  <a:gd name="connsiteX5" fmla="*/ 126982 w 161807"/>
                  <a:gd name="connsiteY5" fmla="*/ 181710 h 554908"/>
                  <a:gd name="connsiteX6" fmla="*/ 127924 w 161807"/>
                  <a:gd name="connsiteY6" fmla="*/ 177474 h 554908"/>
                  <a:gd name="connsiteX7" fmla="*/ 150043 w 161807"/>
                  <a:gd name="connsiteY7" fmla="*/ 5699 h 554908"/>
                  <a:gd name="connsiteX8" fmla="*/ 156161 w 161807"/>
                  <a:gd name="connsiteY8" fmla="*/ 52 h 554908"/>
                  <a:gd name="connsiteX9" fmla="*/ 161808 w 161807"/>
                  <a:gd name="connsiteY9" fmla="*/ 6170 h 554908"/>
                  <a:gd name="connsiteX10" fmla="*/ 139689 w 161807"/>
                  <a:gd name="connsiteY10" fmla="*/ 179827 h 554908"/>
                  <a:gd name="connsiteX11" fmla="*/ 138748 w 161807"/>
                  <a:gd name="connsiteY11" fmla="*/ 184063 h 554908"/>
                  <a:gd name="connsiteX12" fmla="*/ 135924 w 161807"/>
                  <a:gd name="connsiteY12" fmla="*/ 198652 h 554908"/>
                  <a:gd name="connsiteX13" fmla="*/ 86510 w 161807"/>
                  <a:gd name="connsiteY13" fmla="*/ 376074 h 554908"/>
                  <a:gd name="connsiteX14" fmla="*/ 11211 w 161807"/>
                  <a:gd name="connsiteY14" fmla="*/ 551615 h 554908"/>
                  <a:gd name="connsiteX15" fmla="*/ 6034 w 161807"/>
                  <a:gd name="connsiteY15" fmla="*/ 554909 h 554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1807" h="554908">
                    <a:moveTo>
                      <a:pt x="6034" y="554909"/>
                    </a:moveTo>
                    <a:cubicBezTo>
                      <a:pt x="5093" y="554909"/>
                      <a:pt x="4152" y="554909"/>
                      <a:pt x="3210" y="554438"/>
                    </a:cubicBezTo>
                    <a:cubicBezTo>
                      <a:pt x="387" y="553026"/>
                      <a:pt x="-1025" y="549261"/>
                      <a:pt x="857" y="546438"/>
                    </a:cubicBezTo>
                    <a:cubicBezTo>
                      <a:pt x="29565" y="489964"/>
                      <a:pt x="54508" y="431607"/>
                      <a:pt x="75215" y="372310"/>
                    </a:cubicBezTo>
                    <a:cubicBezTo>
                      <a:pt x="95451" y="314894"/>
                      <a:pt x="111923" y="255596"/>
                      <a:pt x="124159" y="196299"/>
                    </a:cubicBezTo>
                    <a:cubicBezTo>
                      <a:pt x="125100" y="191593"/>
                      <a:pt x="126041" y="186886"/>
                      <a:pt x="126982" y="181710"/>
                    </a:cubicBezTo>
                    <a:lnTo>
                      <a:pt x="127924" y="177474"/>
                    </a:lnTo>
                    <a:cubicBezTo>
                      <a:pt x="138748" y="120529"/>
                      <a:pt x="146278" y="62644"/>
                      <a:pt x="150043" y="5699"/>
                    </a:cubicBezTo>
                    <a:cubicBezTo>
                      <a:pt x="150043" y="2405"/>
                      <a:pt x="152866" y="-419"/>
                      <a:pt x="156161" y="52"/>
                    </a:cubicBezTo>
                    <a:cubicBezTo>
                      <a:pt x="159455" y="52"/>
                      <a:pt x="161808" y="2875"/>
                      <a:pt x="161808" y="6170"/>
                    </a:cubicBezTo>
                    <a:cubicBezTo>
                      <a:pt x="158043" y="64055"/>
                      <a:pt x="150513" y="122412"/>
                      <a:pt x="139689" y="179827"/>
                    </a:cubicBezTo>
                    <a:lnTo>
                      <a:pt x="138748" y="184063"/>
                    </a:lnTo>
                    <a:cubicBezTo>
                      <a:pt x="137807" y="188769"/>
                      <a:pt x="136866" y="193946"/>
                      <a:pt x="135924" y="198652"/>
                    </a:cubicBezTo>
                    <a:cubicBezTo>
                      <a:pt x="123218" y="258420"/>
                      <a:pt x="106746" y="318189"/>
                      <a:pt x="86510" y="376074"/>
                    </a:cubicBezTo>
                    <a:cubicBezTo>
                      <a:pt x="65802" y="435843"/>
                      <a:pt x="40389" y="494670"/>
                      <a:pt x="11211" y="551615"/>
                    </a:cubicBezTo>
                    <a:cubicBezTo>
                      <a:pt x="10269" y="553968"/>
                      <a:pt x="8387" y="554909"/>
                      <a:pt x="6034" y="554909"/>
                    </a:cubicBezTo>
                    <a:close/>
                  </a:path>
                </a:pathLst>
              </a:custGeom>
              <a:solidFill>
                <a:srgbClr val="6A79D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íṥḷîḑe">
                <a:extLst>
                  <a:ext uri="{FF2B5EF4-FFF2-40B4-BE49-F238E27FC236}">
                    <a16:creationId xmlns:a16="http://schemas.microsoft.com/office/drawing/2014/main" id="{27688922-B0D6-4209-A3B2-AA83894BCB7F}"/>
                  </a:ext>
                </a:extLst>
              </p:cNvPr>
              <p:cNvSpPr/>
              <p:nvPr/>
            </p:nvSpPr>
            <p:spPr>
              <a:xfrm>
                <a:off x="5511208" y="5228467"/>
                <a:ext cx="95299" cy="91181"/>
              </a:xfrm>
              <a:custGeom>
                <a:avLst/>
                <a:gdLst>
                  <a:gd name="connsiteX0" fmla="*/ 89300 w 95299"/>
                  <a:gd name="connsiteY0" fmla="*/ 91182 h 91181"/>
                  <a:gd name="connsiteX1" fmla="*/ 85064 w 95299"/>
                  <a:gd name="connsiteY1" fmla="*/ 89770 h 91181"/>
                  <a:gd name="connsiteX2" fmla="*/ 1765 w 95299"/>
                  <a:gd name="connsiteY2" fmla="*/ 10236 h 91181"/>
                  <a:gd name="connsiteX3" fmla="*/ 1765 w 95299"/>
                  <a:gd name="connsiteY3" fmla="*/ 1765 h 91181"/>
                  <a:gd name="connsiteX4" fmla="*/ 10236 w 95299"/>
                  <a:gd name="connsiteY4" fmla="*/ 1765 h 91181"/>
                  <a:gd name="connsiteX5" fmla="*/ 93535 w 95299"/>
                  <a:gd name="connsiteY5" fmla="*/ 81299 h 91181"/>
                  <a:gd name="connsiteX6" fmla="*/ 93535 w 95299"/>
                  <a:gd name="connsiteY6" fmla="*/ 89770 h 91181"/>
                  <a:gd name="connsiteX7" fmla="*/ 89300 w 95299"/>
                  <a:gd name="connsiteY7" fmla="*/ 91182 h 9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299" h="91181">
                    <a:moveTo>
                      <a:pt x="89300" y="91182"/>
                    </a:moveTo>
                    <a:cubicBezTo>
                      <a:pt x="87888" y="91182"/>
                      <a:pt x="86476" y="90711"/>
                      <a:pt x="85064" y="89770"/>
                    </a:cubicBezTo>
                    <a:lnTo>
                      <a:pt x="1765" y="10236"/>
                    </a:lnTo>
                    <a:cubicBezTo>
                      <a:pt x="-588" y="7883"/>
                      <a:pt x="-588" y="4118"/>
                      <a:pt x="1765" y="1765"/>
                    </a:cubicBezTo>
                    <a:cubicBezTo>
                      <a:pt x="4118" y="-588"/>
                      <a:pt x="7883" y="-588"/>
                      <a:pt x="10236" y="1765"/>
                    </a:cubicBezTo>
                    <a:lnTo>
                      <a:pt x="93535" y="81299"/>
                    </a:lnTo>
                    <a:cubicBezTo>
                      <a:pt x="95888" y="83652"/>
                      <a:pt x="95888" y="87417"/>
                      <a:pt x="93535" y="89770"/>
                    </a:cubicBezTo>
                    <a:cubicBezTo>
                      <a:pt x="92594" y="90711"/>
                      <a:pt x="90711" y="91182"/>
                      <a:pt x="89300" y="91182"/>
                    </a:cubicBezTo>
                    <a:close/>
                  </a:path>
                </a:pathLst>
              </a:custGeom>
              <a:solidFill>
                <a:srgbClr val="6A79D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54" name="ïş1îdê">
              <a:extLst>
                <a:ext uri="{FF2B5EF4-FFF2-40B4-BE49-F238E27FC236}">
                  <a16:creationId xmlns:a16="http://schemas.microsoft.com/office/drawing/2014/main" id="{9B8C66DB-8CD3-4CBC-807D-10E9D651667A}"/>
                </a:ext>
              </a:extLst>
            </p:cNvPr>
            <p:cNvGrpSpPr/>
            <p:nvPr/>
          </p:nvGrpSpPr>
          <p:grpSpPr>
            <a:xfrm>
              <a:off x="3747072" y="4609975"/>
              <a:ext cx="2397740" cy="1359467"/>
              <a:chOff x="3962047" y="4917533"/>
              <a:chExt cx="1477508" cy="837715"/>
            </a:xfrm>
          </p:grpSpPr>
          <p:sp>
            <p:nvSpPr>
              <p:cNvPr id="55" name="iŝliḍê">
                <a:extLst>
                  <a:ext uri="{FF2B5EF4-FFF2-40B4-BE49-F238E27FC236}">
                    <a16:creationId xmlns:a16="http://schemas.microsoft.com/office/drawing/2014/main" id="{BAD105C0-5D35-4B4C-92E7-6BA552F5356F}"/>
                  </a:ext>
                </a:extLst>
              </p:cNvPr>
              <p:cNvSpPr/>
              <p:nvPr/>
            </p:nvSpPr>
            <p:spPr>
              <a:xfrm>
                <a:off x="3979496" y="4917533"/>
                <a:ext cx="1460060" cy="837715"/>
              </a:xfrm>
              <a:custGeom>
                <a:avLst/>
                <a:gdLst>
                  <a:gd name="connsiteX0" fmla="*/ 1456295 w 1460060"/>
                  <a:gd name="connsiteY0" fmla="*/ 807788 h 837715"/>
                  <a:gd name="connsiteX1" fmla="*/ 1452060 w 1460060"/>
                  <a:gd name="connsiteY1" fmla="*/ 816730 h 837715"/>
                  <a:gd name="connsiteX2" fmla="*/ 1449236 w 1460060"/>
                  <a:gd name="connsiteY2" fmla="*/ 820965 h 837715"/>
                  <a:gd name="connsiteX3" fmla="*/ 1250636 w 1460060"/>
                  <a:gd name="connsiteY3" fmla="*/ 819082 h 837715"/>
                  <a:gd name="connsiteX4" fmla="*/ 949441 w 1460060"/>
                  <a:gd name="connsiteY4" fmla="*/ 769197 h 837715"/>
                  <a:gd name="connsiteX5" fmla="*/ 882613 w 1460060"/>
                  <a:gd name="connsiteY5" fmla="*/ 757432 h 837715"/>
                  <a:gd name="connsiteX6" fmla="*/ 599773 w 1460060"/>
                  <a:gd name="connsiteY6" fmla="*/ 687310 h 837715"/>
                  <a:gd name="connsiteX7" fmla="*/ 285401 w 1460060"/>
                  <a:gd name="connsiteY7" fmla="*/ 500946 h 837715"/>
                  <a:gd name="connsiteX8" fmla="*/ 214808 w 1460060"/>
                  <a:gd name="connsiteY8" fmla="*/ 443530 h 837715"/>
                  <a:gd name="connsiteX9" fmla="*/ 80682 w 1460060"/>
                  <a:gd name="connsiteY9" fmla="*/ 306581 h 837715"/>
                  <a:gd name="connsiteX10" fmla="*/ 6795 w 1460060"/>
                  <a:gd name="connsiteY10" fmla="*/ 98097 h 837715"/>
                  <a:gd name="connsiteX11" fmla="*/ 55739 w 1460060"/>
                  <a:gd name="connsiteY11" fmla="*/ 46330 h 837715"/>
                  <a:gd name="connsiteX12" fmla="*/ 230809 w 1460060"/>
                  <a:gd name="connsiteY12" fmla="*/ 2091 h 837715"/>
                  <a:gd name="connsiteX13" fmla="*/ 324932 w 1460060"/>
                  <a:gd name="connsiteY13" fmla="*/ 680 h 837715"/>
                  <a:gd name="connsiteX14" fmla="*/ 570594 w 1460060"/>
                  <a:gd name="connsiteY14" fmla="*/ 32211 h 837715"/>
                  <a:gd name="connsiteX15" fmla="*/ 750841 w 1460060"/>
                  <a:gd name="connsiteY15" fmla="*/ 84920 h 837715"/>
                  <a:gd name="connsiteX16" fmla="*/ 843082 w 1460060"/>
                  <a:gd name="connsiteY16" fmla="*/ 122570 h 837715"/>
                  <a:gd name="connsiteX17" fmla="*/ 933911 w 1460060"/>
                  <a:gd name="connsiteY17" fmla="*/ 169161 h 837715"/>
                  <a:gd name="connsiteX18" fmla="*/ 1071331 w 1460060"/>
                  <a:gd name="connsiteY18" fmla="*/ 259990 h 837715"/>
                  <a:gd name="connsiteX19" fmla="*/ 1085449 w 1460060"/>
                  <a:gd name="connsiteY19" fmla="*/ 271284 h 837715"/>
                  <a:gd name="connsiteX20" fmla="*/ 1363113 w 1460060"/>
                  <a:gd name="connsiteY20" fmla="*/ 560714 h 837715"/>
                  <a:gd name="connsiteX21" fmla="*/ 1424764 w 1460060"/>
                  <a:gd name="connsiteY21" fmla="*/ 664249 h 837715"/>
                  <a:gd name="connsiteX22" fmla="*/ 1456766 w 1460060"/>
                  <a:gd name="connsiteY22" fmla="*/ 752255 h 837715"/>
                  <a:gd name="connsiteX23" fmla="*/ 1459119 w 1460060"/>
                  <a:gd name="connsiteY23" fmla="*/ 769668 h 837715"/>
                  <a:gd name="connsiteX24" fmla="*/ 1456295 w 1460060"/>
                  <a:gd name="connsiteY24" fmla="*/ 807788 h 837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460060" h="837715">
                    <a:moveTo>
                      <a:pt x="1456295" y="807788"/>
                    </a:moveTo>
                    <a:cubicBezTo>
                      <a:pt x="1455354" y="811082"/>
                      <a:pt x="1454413" y="814376"/>
                      <a:pt x="1452060" y="816730"/>
                    </a:cubicBezTo>
                    <a:cubicBezTo>
                      <a:pt x="1451589" y="818141"/>
                      <a:pt x="1450648" y="819553"/>
                      <a:pt x="1449236" y="820965"/>
                    </a:cubicBezTo>
                    <a:cubicBezTo>
                      <a:pt x="1430882" y="844966"/>
                      <a:pt x="1392291" y="842143"/>
                      <a:pt x="1250636" y="819082"/>
                    </a:cubicBezTo>
                    <a:cubicBezTo>
                      <a:pt x="1132040" y="799787"/>
                      <a:pt x="1033211" y="783786"/>
                      <a:pt x="949441" y="769197"/>
                    </a:cubicBezTo>
                    <a:cubicBezTo>
                      <a:pt x="925910" y="764962"/>
                      <a:pt x="903791" y="761197"/>
                      <a:pt x="882613" y="757432"/>
                    </a:cubicBezTo>
                    <a:cubicBezTo>
                      <a:pt x="745193" y="732489"/>
                      <a:pt x="657658" y="712253"/>
                      <a:pt x="599773" y="687310"/>
                    </a:cubicBezTo>
                    <a:cubicBezTo>
                      <a:pt x="492001" y="641660"/>
                      <a:pt x="381406" y="574833"/>
                      <a:pt x="285401" y="500946"/>
                    </a:cubicBezTo>
                    <a:cubicBezTo>
                      <a:pt x="260928" y="482121"/>
                      <a:pt x="237398" y="462825"/>
                      <a:pt x="214808" y="443530"/>
                    </a:cubicBezTo>
                    <a:cubicBezTo>
                      <a:pt x="162569" y="398351"/>
                      <a:pt x="116920" y="351289"/>
                      <a:pt x="80682" y="306581"/>
                    </a:cubicBezTo>
                    <a:cubicBezTo>
                      <a:pt x="16678" y="225635"/>
                      <a:pt x="-14853" y="150336"/>
                      <a:pt x="6795" y="98097"/>
                    </a:cubicBezTo>
                    <a:cubicBezTo>
                      <a:pt x="15737" y="76920"/>
                      <a:pt x="32679" y="59978"/>
                      <a:pt x="55739" y="46330"/>
                    </a:cubicBezTo>
                    <a:cubicBezTo>
                      <a:pt x="96683" y="21858"/>
                      <a:pt x="157863" y="7268"/>
                      <a:pt x="230809" y="2091"/>
                    </a:cubicBezTo>
                    <a:cubicBezTo>
                      <a:pt x="260458" y="209"/>
                      <a:pt x="291989" y="-732"/>
                      <a:pt x="324932" y="680"/>
                    </a:cubicBezTo>
                    <a:cubicBezTo>
                      <a:pt x="401172" y="3033"/>
                      <a:pt x="485413" y="13387"/>
                      <a:pt x="570594" y="32211"/>
                    </a:cubicBezTo>
                    <a:cubicBezTo>
                      <a:pt x="630833" y="45859"/>
                      <a:pt x="691543" y="62801"/>
                      <a:pt x="750841" y="84920"/>
                    </a:cubicBezTo>
                    <a:cubicBezTo>
                      <a:pt x="782372" y="96215"/>
                      <a:pt x="812962" y="108451"/>
                      <a:pt x="843082" y="122570"/>
                    </a:cubicBezTo>
                    <a:cubicBezTo>
                      <a:pt x="874142" y="136688"/>
                      <a:pt x="904262" y="152218"/>
                      <a:pt x="933911" y="169161"/>
                    </a:cubicBezTo>
                    <a:cubicBezTo>
                      <a:pt x="981913" y="196927"/>
                      <a:pt x="1028034" y="227517"/>
                      <a:pt x="1071331" y="259990"/>
                    </a:cubicBezTo>
                    <a:cubicBezTo>
                      <a:pt x="1076508" y="263755"/>
                      <a:pt x="1081214" y="267519"/>
                      <a:pt x="1085449" y="271284"/>
                    </a:cubicBezTo>
                    <a:cubicBezTo>
                      <a:pt x="1202162" y="361643"/>
                      <a:pt x="1297698" y="466120"/>
                      <a:pt x="1363113" y="560714"/>
                    </a:cubicBezTo>
                    <a:cubicBezTo>
                      <a:pt x="1388527" y="597422"/>
                      <a:pt x="1409234" y="632247"/>
                      <a:pt x="1424764" y="664249"/>
                    </a:cubicBezTo>
                    <a:cubicBezTo>
                      <a:pt x="1441236" y="697193"/>
                      <a:pt x="1452060" y="727312"/>
                      <a:pt x="1456766" y="752255"/>
                    </a:cubicBezTo>
                    <a:cubicBezTo>
                      <a:pt x="1457707" y="758373"/>
                      <a:pt x="1458648" y="764020"/>
                      <a:pt x="1459119" y="769668"/>
                    </a:cubicBezTo>
                    <a:cubicBezTo>
                      <a:pt x="1461001" y="784728"/>
                      <a:pt x="1460060" y="797434"/>
                      <a:pt x="1456295" y="807788"/>
                    </a:cubicBezTo>
                    <a:close/>
                  </a:path>
                </a:pathLst>
              </a:custGeom>
              <a:solidFill>
                <a:srgbClr val="FFE845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îSļiḑe">
                <a:extLst>
                  <a:ext uri="{FF2B5EF4-FFF2-40B4-BE49-F238E27FC236}">
                    <a16:creationId xmlns:a16="http://schemas.microsoft.com/office/drawing/2014/main" id="{4407EF02-84DF-4911-A2A8-44E30A86611A}"/>
                  </a:ext>
                </a:extLst>
              </p:cNvPr>
              <p:cNvSpPr/>
              <p:nvPr/>
            </p:nvSpPr>
            <p:spPr>
              <a:xfrm>
                <a:off x="3962047" y="4989975"/>
                <a:ext cx="1460316" cy="722168"/>
              </a:xfrm>
              <a:custGeom>
                <a:avLst/>
                <a:gdLst>
                  <a:gd name="connsiteX0" fmla="*/ 1454449 w 1460316"/>
                  <a:gd name="connsiteY0" fmla="*/ 722169 h 722168"/>
                  <a:gd name="connsiteX1" fmla="*/ 1450683 w 1460316"/>
                  <a:gd name="connsiteY1" fmla="*/ 720757 h 722168"/>
                  <a:gd name="connsiteX2" fmla="*/ 999362 w 1460316"/>
                  <a:gd name="connsiteY2" fmla="*/ 417680 h 722168"/>
                  <a:gd name="connsiteX3" fmla="*/ 528745 w 1460316"/>
                  <a:gd name="connsiteY3" fmla="*/ 185665 h 722168"/>
                  <a:gd name="connsiteX4" fmla="*/ 492037 w 1460316"/>
                  <a:gd name="connsiteY4" fmla="*/ 171076 h 722168"/>
                  <a:gd name="connsiteX5" fmla="*/ 489684 w 1460316"/>
                  <a:gd name="connsiteY5" fmla="*/ 170135 h 722168"/>
                  <a:gd name="connsiteX6" fmla="*/ 483566 w 1460316"/>
                  <a:gd name="connsiteY6" fmla="*/ 167782 h 722168"/>
                  <a:gd name="connsiteX7" fmla="*/ 477918 w 1460316"/>
                  <a:gd name="connsiteY7" fmla="*/ 165429 h 722168"/>
                  <a:gd name="connsiteX8" fmla="*/ 4478 w 1460316"/>
                  <a:gd name="connsiteY8" fmla="*/ 11537 h 722168"/>
                  <a:gd name="connsiteX9" fmla="*/ 242 w 1460316"/>
                  <a:gd name="connsiteY9" fmla="*/ 4478 h 722168"/>
                  <a:gd name="connsiteX10" fmla="*/ 7302 w 1460316"/>
                  <a:gd name="connsiteY10" fmla="*/ 242 h 722168"/>
                  <a:gd name="connsiteX11" fmla="*/ 482625 w 1460316"/>
                  <a:gd name="connsiteY11" fmla="*/ 154605 h 722168"/>
                  <a:gd name="connsiteX12" fmla="*/ 488272 w 1460316"/>
                  <a:gd name="connsiteY12" fmla="*/ 156958 h 722168"/>
                  <a:gd name="connsiteX13" fmla="*/ 494390 w 1460316"/>
                  <a:gd name="connsiteY13" fmla="*/ 159311 h 722168"/>
                  <a:gd name="connsiteX14" fmla="*/ 496743 w 1460316"/>
                  <a:gd name="connsiteY14" fmla="*/ 160252 h 722168"/>
                  <a:gd name="connsiteX15" fmla="*/ 533451 w 1460316"/>
                  <a:gd name="connsiteY15" fmla="*/ 174841 h 722168"/>
                  <a:gd name="connsiteX16" fmla="*/ 1005480 w 1460316"/>
                  <a:gd name="connsiteY16" fmla="*/ 407326 h 722168"/>
                  <a:gd name="connsiteX17" fmla="*/ 1458213 w 1460316"/>
                  <a:gd name="connsiteY17" fmla="*/ 711344 h 722168"/>
                  <a:gd name="connsiteX18" fmla="*/ 1459155 w 1460316"/>
                  <a:gd name="connsiteY18" fmla="*/ 719815 h 722168"/>
                  <a:gd name="connsiteX19" fmla="*/ 1454449 w 1460316"/>
                  <a:gd name="connsiteY19" fmla="*/ 722169 h 722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460316" h="722168">
                    <a:moveTo>
                      <a:pt x="1454449" y="722169"/>
                    </a:moveTo>
                    <a:cubicBezTo>
                      <a:pt x="1453037" y="722169"/>
                      <a:pt x="1452095" y="721698"/>
                      <a:pt x="1450683" y="720757"/>
                    </a:cubicBezTo>
                    <a:cubicBezTo>
                      <a:pt x="1307145" y="609691"/>
                      <a:pt x="1155136" y="507568"/>
                      <a:pt x="999362" y="417680"/>
                    </a:cubicBezTo>
                    <a:cubicBezTo>
                      <a:pt x="847823" y="330145"/>
                      <a:pt x="689696" y="252023"/>
                      <a:pt x="528745" y="185665"/>
                    </a:cubicBezTo>
                    <a:cubicBezTo>
                      <a:pt x="516509" y="180489"/>
                      <a:pt x="504273" y="175782"/>
                      <a:pt x="492037" y="171076"/>
                    </a:cubicBezTo>
                    <a:lnTo>
                      <a:pt x="489684" y="170135"/>
                    </a:lnTo>
                    <a:cubicBezTo>
                      <a:pt x="487801" y="169194"/>
                      <a:pt x="485448" y="168252"/>
                      <a:pt x="483566" y="167782"/>
                    </a:cubicBezTo>
                    <a:lnTo>
                      <a:pt x="477918" y="165429"/>
                    </a:lnTo>
                    <a:cubicBezTo>
                      <a:pt x="323085" y="104249"/>
                      <a:pt x="163546" y="52481"/>
                      <a:pt x="4478" y="11537"/>
                    </a:cubicBezTo>
                    <a:cubicBezTo>
                      <a:pt x="1183" y="10596"/>
                      <a:pt x="-699" y="7302"/>
                      <a:pt x="242" y="4478"/>
                    </a:cubicBezTo>
                    <a:cubicBezTo>
                      <a:pt x="1183" y="1184"/>
                      <a:pt x="4007" y="-699"/>
                      <a:pt x="7302" y="242"/>
                    </a:cubicBezTo>
                    <a:cubicBezTo>
                      <a:pt x="166841" y="41186"/>
                      <a:pt x="326850" y="93425"/>
                      <a:pt x="482625" y="154605"/>
                    </a:cubicBezTo>
                    <a:lnTo>
                      <a:pt x="488272" y="156958"/>
                    </a:lnTo>
                    <a:cubicBezTo>
                      <a:pt x="490625" y="157899"/>
                      <a:pt x="492508" y="158840"/>
                      <a:pt x="494390" y="159311"/>
                    </a:cubicBezTo>
                    <a:lnTo>
                      <a:pt x="496743" y="160252"/>
                    </a:lnTo>
                    <a:cubicBezTo>
                      <a:pt x="508979" y="164958"/>
                      <a:pt x="521215" y="170135"/>
                      <a:pt x="533451" y="174841"/>
                    </a:cubicBezTo>
                    <a:cubicBezTo>
                      <a:pt x="694402" y="241669"/>
                      <a:pt x="853000" y="319791"/>
                      <a:pt x="1005480" y="407326"/>
                    </a:cubicBezTo>
                    <a:cubicBezTo>
                      <a:pt x="1161725" y="497684"/>
                      <a:pt x="1314205" y="599808"/>
                      <a:pt x="1458213" y="711344"/>
                    </a:cubicBezTo>
                    <a:cubicBezTo>
                      <a:pt x="1460567" y="713227"/>
                      <a:pt x="1461037" y="716992"/>
                      <a:pt x="1459155" y="719815"/>
                    </a:cubicBezTo>
                    <a:cubicBezTo>
                      <a:pt x="1457743" y="721227"/>
                      <a:pt x="1455860" y="722169"/>
                      <a:pt x="1454449" y="722169"/>
                    </a:cubicBezTo>
                    <a:close/>
                  </a:path>
                </a:pathLst>
              </a:custGeom>
              <a:solidFill>
                <a:srgbClr val="6A79D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ïśliḑê">
                <a:extLst>
                  <a:ext uri="{FF2B5EF4-FFF2-40B4-BE49-F238E27FC236}">
                    <a16:creationId xmlns:a16="http://schemas.microsoft.com/office/drawing/2014/main" id="{9B3183D1-156A-41EC-A007-06E77422BD72}"/>
                  </a:ext>
                </a:extLst>
              </p:cNvPr>
              <p:cNvSpPr/>
              <p:nvPr/>
            </p:nvSpPr>
            <p:spPr>
              <a:xfrm>
                <a:off x="4169173" y="5144391"/>
                <a:ext cx="278981" cy="203494"/>
              </a:xfrm>
              <a:custGeom>
                <a:avLst/>
                <a:gdLst>
                  <a:gd name="connsiteX0" fmla="*/ 5836 w 278981"/>
                  <a:gd name="connsiteY0" fmla="*/ 203495 h 203494"/>
                  <a:gd name="connsiteX1" fmla="*/ 1129 w 278981"/>
                  <a:gd name="connsiteY1" fmla="*/ 201142 h 203494"/>
                  <a:gd name="connsiteX2" fmla="*/ 2541 w 278981"/>
                  <a:gd name="connsiteY2" fmla="*/ 193141 h 203494"/>
                  <a:gd name="connsiteX3" fmla="*/ 269852 w 278981"/>
                  <a:gd name="connsiteY3" fmla="*/ 1129 h 203494"/>
                  <a:gd name="connsiteX4" fmla="*/ 277852 w 278981"/>
                  <a:gd name="connsiteY4" fmla="*/ 2541 h 203494"/>
                  <a:gd name="connsiteX5" fmla="*/ 276440 w 278981"/>
                  <a:gd name="connsiteY5" fmla="*/ 10542 h 203494"/>
                  <a:gd name="connsiteX6" fmla="*/ 9130 w 278981"/>
                  <a:gd name="connsiteY6" fmla="*/ 202553 h 203494"/>
                  <a:gd name="connsiteX7" fmla="*/ 5836 w 278981"/>
                  <a:gd name="connsiteY7" fmla="*/ 203495 h 203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8981" h="203494">
                    <a:moveTo>
                      <a:pt x="5836" y="203495"/>
                    </a:moveTo>
                    <a:cubicBezTo>
                      <a:pt x="3953" y="203495"/>
                      <a:pt x="2071" y="202553"/>
                      <a:pt x="1129" y="201142"/>
                    </a:cubicBezTo>
                    <a:cubicBezTo>
                      <a:pt x="-753" y="198318"/>
                      <a:pt x="-282" y="195024"/>
                      <a:pt x="2541" y="193141"/>
                    </a:cubicBezTo>
                    <a:lnTo>
                      <a:pt x="269852" y="1129"/>
                    </a:lnTo>
                    <a:cubicBezTo>
                      <a:pt x="272205" y="-753"/>
                      <a:pt x="275970" y="-282"/>
                      <a:pt x="277852" y="2541"/>
                    </a:cubicBezTo>
                    <a:cubicBezTo>
                      <a:pt x="279735" y="5365"/>
                      <a:pt x="279264" y="8660"/>
                      <a:pt x="276440" y="10542"/>
                    </a:cubicBezTo>
                    <a:lnTo>
                      <a:pt x="9130" y="202553"/>
                    </a:lnTo>
                    <a:cubicBezTo>
                      <a:pt x="8189" y="203495"/>
                      <a:pt x="6777" y="203495"/>
                      <a:pt x="5836" y="203495"/>
                    </a:cubicBezTo>
                    <a:close/>
                  </a:path>
                </a:pathLst>
              </a:custGeom>
              <a:solidFill>
                <a:srgbClr val="6A79D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ïṧ1íḋe">
                <a:extLst>
                  <a:ext uri="{FF2B5EF4-FFF2-40B4-BE49-F238E27FC236}">
                    <a16:creationId xmlns:a16="http://schemas.microsoft.com/office/drawing/2014/main" id="{67E2AA27-8415-46A7-AF3E-82B8354F51C2}"/>
                  </a:ext>
                </a:extLst>
              </p:cNvPr>
              <p:cNvSpPr/>
              <p:nvPr/>
            </p:nvSpPr>
            <p:spPr>
              <a:xfrm>
                <a:off x="4239819" y="5164681"/>
                <a:ext cx="259580" cy="241090"/>
              </a:xfrm>
              <a:custGeom>
                <a:avLst/>
                <a:gdLst>
                  <a:gd name="connsiteX0" fmla="*/ 5783 w 259580"/>
                  <a:gd name="connsiteY0" fmla="*/ 241091 h 241090"/>
                  <a:gd name="connsiteX1" fmla="*/ 1547 w 259580"/>
                  <a:gd name="connsiteY1" fmla="*/ 239208 h 241090"/>
                  <a:gd name="connsiteX2" fmla="*/ 2018 w 259580"/>
                  <a:gd name="connsiteY2" fmla="*/ 230737 h 241090"/>
                  <a:gd name="connsiteX3" fmla="*/ 249562 w 259580"/>
                  <a:gd name="connsiteY3" fmla="*/ 1547 h 241090"/>
                  <a:gd name="connsiteX4" fmla="*/ 258033 w 259580"/>
                  <a:gd name="connsiteY4" fmla="*/ 2017 h 241090"/>
                  <a:gd name="connsiteX5" fmla="*/ 257563 w 259580"/>
                  <a:gd name="connsiteY5" fmla="*/ 10489 h 241090"/>
                  <a:gd name="connsiteX6" fmla="*/ 10018 w 259580"/>
                  <a:gd name="connsiteY6" fmla="*/ 239679 h 241090"/>
                  <a:gd name="connsiteX7" fmla="*/ 5783 w 259580"/>
                  <a:gd name="connsiteY7" fmla="*/ 241091 h 241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9580" h="241090">
                    <a:moveTo>
                      <a:pt x="5783" y="241091"/>
                    </a:moveTo>
                    <a:cubicBezTo>
                      <a:pt x="4371" y="241091"/>
                      <a:pt x="2488" y="240620"/>
                      <a:pt x="1547" y="239208"/>
                    </a:cubicBezTo>
                    <a:cubicBezTo>
                      <a:pt x="-806" y="236856"/>
                      <a:pt x="-335" y="233091"/>
                      <a:pt x="2018" y="230737"/>
                    </a:cubicBezTo>
                    <a:lnTo>
                      <a:pt x="249562" y="1547"/>
                    </a:lnTo>
                    <a:cubicBezTo>
                      <a:pt x="251915" y="-806"/>
                      <a:pt x="255680" y="-335"/>
                      <a:pt x="258033" y="2017"/>
                    </a:cubicBezTo>
                    <a:cubicBezTo>
                      <a:pt x="260386" y="4371"/>
                      <a:pt x="259916" y="8136"/>
                      <a:pt x="257563" y="10489"/>
                    </a:cubicBezTo>
                    <a:lnTo>
                      <a:pt x="10018" y="239679"/>
                    </a:lnTo>
                    <a:cubicBezTo>
                      <a:pt x="8606" y="240620"/>
                      <a:pt x="7194" y="241091"/>
                      <a:pt x="5783" y="241091"/>
                    </a:cubicBezTo>
                    <a:close/>
                  </a:path>
                </a:pathLst>
              </a:custGeom>
              <a:solidFill>
                <a:srgbClr val="6A79D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îş1îḑé">
                <a:extLst>
                  <a:ext uri="{FF2B5EF4-FFF2-40B4-BE49-F238E27FC236}">
                    <a16:creationId xmlns:a16="http://schemas.microsoft.com/office/drawing/2014/main" id="{9140E5AE-8449-4013-B46A-FE33C217A614}"/>
                  </a:ext>
                </a:extLst>
              </p:cNvPr>
              <p:cNvSpPr/>
              <p:nvPr/>
            </p:nvSpPr>
            <p:spPr>
              <a:xfrm>
                <a:off x="4888392" y="5061679"/>
                <a:ext cx="82030" cy="346445"/>
              </a:xfrm>
              <a:custGeom>
                <a:avLst/>
                <a:gdLst>
                  <a:gd name="connsiteX0" fmla="*/ 75841 w 82030"/>
                  <a:gd name="connsiteY0" fmla="*/ 346446 h 346445"/>
                  <a:gd name="connsiteX1" fmla="*/ 70194 w 82030"/>
                  <a:gd name="connsiteY1" fmla="*/ 341740 h 346445"/>
                  <a:gd name="connsiteX2" fmla="*/ 72 w 82030"/>
                  <a:gd name="connsiteY2" fmla="*/ 7131 h 346445"/>
                  <a:gd name="connsiteX3" fmla="*/ 4778 w 82030"/>
                  <a:gd name="connsiteY3" fmla="*/ 72 h 346445"/>
                  <a:gd name="connsiteX4" fmla="*/ 11837 w 82030"/>
                  <a:gd name="connsiteY4" fmla="*/ 4778 h 346445"/>
                  <a:gd name="connsiteX5" fmla="*/ 81959 w 82030"/>
                  <a:gd name="connsiteY5" fmla="*/ 339386 h 346445"/>
                  <a:gd name="connsiteX6" fmla="*/ 77253 w 82030"/>
                  <a:gd name="connsiteY6" fmla="*/ 346446 h 346445"/>
                  <a:gd name="connsiteX7" fmla="*/ 75841 w 82030"/>
                  <a:gd name="connsiteY7" fmla="*/ 346446 h 346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030" h="346445">
                    <a:moveTo>
                      <a:pt x="75841" y="346446"/>
                    </a:moveTo>
                    <a:cubicBezTo>
                      <a:pt x="73017" y="346446"/>
                      <a:pt x="70664" y="344563"/>
                      <a:pt x="70194" y="341740"/>
                    </a:cubicBezTo>
                    <a:lnTo>
                      <a:pt x="72" y="7131"/>
                    </a:lnTo>
                    <a:cubicBezTo>
                      <a:pt x="-399" y="3837"/>
                      <a:pt x="1484" y="1013"/>
                      <a:pt x="4778" y="72"/>
                    </a:cubicBezTo>
                    <a:cubicBezTo>
                      <a:pt x="8072" y="-399"/>
                      <a:pt x="10896" y="1483"/>
                      <a:pt x="11837" y="4778"/>
                    </a:cubicBezTo>
                    <a:lnTo>
                      <a:pt x="81959" y="339386"/>
                    </a:lnTo>
                    <a:cubicBezTo>
                      <a:pt x="82429" y="342681"/>
                      <a:pt x="80547" y="345504"/>
                      <a:pt x="77253" y="346446"/>
                    </a:cubicBezTo>
                    <a:cubicBezTo>
                      <a:pt x="76782" y="346446"/>
                      <a:pt x="76312" y="346446"/>
                      <a:pt x="75841" y="346446"/>
                    </a:cubicBezTo>
                    <a:close/>
                  </a:path>
                </a:pathLst>
              </a:custGeom>
              <a:solidFill>
                <a:srgbClr val="6A79DF"/>
              </a:solidFill>
              <a:ln w="470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j-ea"/>
                <a:sym typeface="+mn-lt"/>
              </a:rPr>
              <a:t>NLP</a:t>
            </a:r>
            <a:r>
              <a:rPr lang="zh-CN" altLang="en-US" dirty="0">
                <a:latin typeface="+mj-ea"/>
                <a:sym typeface="+mn-lt"/>
              </a:rPr>
              <a:t>预处理流程</a:t>
            </a:r>
            <a:endParaRPr lang="zh-CN" altLang="en-US" dirty="0">
              <a:latin typeface="+mj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spc="100" dirty="0">
                <a:cs typeface="+mn-ea"/>
                <a:sym typeface="+mn-lt"/>
              </a:rPr>
              <a:t>NLP pretreatment process</a:t>
            </a:r>
            <a:endParaRPr lang="en-US" altLang="zh-CN" spc="100" dirty="0">
              <a:cs typeface="+mn-ea"/>
              <a:sym typeface="+mn-lt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F381C9F4-9864-40BC-B01A-015B98442A04}"/>
              </a:ext>
            </a:extLst>
          </p:cNvPr>
          <p:cNvSpPr/>
          <p:nvPr/>
        </p:nvSpPr>
        <p:spPr>
          <a:xfrm>
            <a:off x="5291684" y="803025"/>
            <a:ext cx="1608633" cy="1608633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6600" dirty="0">
                <a:cs typeface="+mn-ea"/>
                <a:sym typeface="+mn-lt"/>
              </a:rPr>
              <a:t>壹</a:t>
            </a:r>
          </a:p>
        </p:txBody>
      </p:sp>
      <p:grpSp>
        <p:nvGrpSpPr>
          <p:cNvPr id="15" name="组合 14"/>
          <p:cNvGrpSpPr/>
          <p:nvPr/>
        </p:nvGrpSpPr>
        <p:grpSpPr>
          <a:xfrm>
            <a:off x="5451591" y="5908377"/>
            <a:ext cx="1288818" cy="108000"/>
            <a:chOff x="5569673" y="5908377"/>
            <a:chExt cx="1288818" cy="108000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D98FD99A-EFD0-4141-B733-9E7ED74FDA18}"/>
                </a:ext>
              </a:extLst>
            </p:cNvPr>
            <p:cNvSpPr/>
            <p:nvPr/>
          </p:nvSpPr>
          <p:spPr>
            <a:xfrm>
              <a:off x="5569673" y="5908377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3C208640-08C5-402E-ACFC-188FE0D4F27B}"/>
                </a:ext>
              </a:extLst>
            </p:cNvPr>
            <p:cNvSpPr/>
            <p:nvPr/>
          </p:nvSpPr>
          <p:spPr>
            <a:xfrm>
              <a:off x="5805836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DE2ECDD2-6209-42D7-AAF9-EDB622256F50}"/>
                </a:ext>
              </a:extLst>
            </p:cNvPr>
            <p:cNvSpPr/>
            <p:nvPr/>
          </p:nvSpPr>
          <p:spPr>
            <a:xfrm>
              <a:off x="6042000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A9CE3EBB-608E-4FBF-85EF-9B447244FA8E}"/>
                </a:ext>
              </a:extLst>
            </p:cNvPr>
            <p:cNvSpPr/>
            <p:nvPr/>
          </p:nvSpPr>
          <p:spPr>
            <a:xfrm>
              <a:off x="6278163" y="5908377"/>
              <a:ext cx="108000" cy="108000"/>
            </a:xfrm>
            <a:prstGeom prst="ellipse">
              <a:avLst/>
            </a:prstGeom>
            <a:solidFill>
              <a:srgbClr val="FDFDFD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514327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750491" y="5908377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LP</a:t>
            </a:r>
            <a:r>
              <a:rPr lang="zh-CN" altLang="en-US" dirty="0"/>
              <a:t>预处理流程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3"/>
          <a:srcRect l="6320" t="6183" r="4245" b="3701"/>
          <a:stretch/>
        </p:blipFill>
        <p:spPr>
          <a:xfrm>
            <a:off x="593724" y="1451440"/>
            <a:ext cx="5886450" cy="3892085"/>
          </a:xfrm>
          <a:prstGeom prst="rect">
            <a:avLst/>
          </a:prstGeom>
        </p:spPr>
      </p:pic>
      <p:grpSp>
        <p:nvGrpSpPr>
          <p:cNvPr id="42" name="组合 41"/>
          <p:cNvGrpSpPr/>
          <p:nvPr/>
        </p:nvGrpSpPr>
        <p:grpSpPr>
          <a:xfrm>
            <a:off x="6790268" y="1385725"/>
            <a:ext cx="5001682" cy="4647867"/>
            <a:chOff x="6790268" y="1385725"/>
            <a:chExt cx="5001682" cy="4647867"/>
          </a:xfrm>
        </p:grpSpPr>
        <p:sp>
          <p:nvSpPr>
            <p:cNvPr id="9" name="矩形 8"/>
            <p:cNvSpPr/>
            <p:nvPr/>
          </p:nvSpPr>
          <p:spPr>
            <a:xfrm>
              <a:off x="6790268" y="1385725"/>
              <a:ext cx="5001682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dirty="0"/>
                <a:t>同乐</a:t>
              </a:r>
              <a:r>
                <a:rPr lang="en-US" altLang="zh-CN" dirty="0"/>
                <a:t>! //@</a:t>
              </a:r>
              <a:r>
                <a:rPr lang="zh-CN" altLang="en-US" dirty="0"/>
                <a:t>寒一平平</a:t>
              </a:r>
              <a:r>
                <a:rPr lang="en-US" altLang="zh-CN" dirty="0"/>
                <a:t>: </a:t>
              </a:r>
              <a:r>
                <a:rPr lang="zh-CN" altLang="en-US" dirty="0"/>
                <a:t>祝姐姐马年快乐！幸福安康！平平安安！</a:t>
              </a:r>
              <a:r>
                <a:rPr lang="en-US" altLang="zh-CN" dirty="0"/>
                <a:t>[</a:t>
              </a:r>
              <a:r>
                <a:rPr lang="zh-CN" altLang="en-US" dirty="0"/>
                <a:t>发红包</a:t>
              </a:r>
              <a:r>
                <a:rPr lang="en-US" altLang="zh-CN" dirty="0"/>
                <a:t>][</a:t>
              </a:r>
              <a:r>
                <a:rPr lang="zh-CN" altLang="en-US" dirty="0"/>
                <a:t>发红包</a:t>
              </a:r>
              <a:r>
                <a:rPr lang="en-US" altLang="zh-CN" dirty="0"/>
                <a:t>][</a:t>
              </a:r>
              <a:r>
                <a:rPr lang="zh-CN" altLang="en-US" dirty="0"/>
                <a:t>爱你</a:t>
              </a:r>
              <a:r>
                <a:rPr lang="en-US" altLang="zh-CN" dirty="0"/>
                <a:t>][</a:t>
              </a:r>
              <a:r>
                <a:rPr lang="zh-CN" altLang="en-US" dirty="0"/>
                <a:t>爱你</a:t>
              </a:r>
              <a:r>
                <a:rPr lang="en-US" altLang="zh-CN" dirty="0"/>
                <a:t>][</a:t>
              </a:r>
              <a:r>
                <a:rPr lang="zh-CN" altLang="en-US" dirty="0"/>
                <a:t>鲜花</a:t>
              </a:r>
              <a:r>
                <a:rPr lang="en-US" altLang="zh-CN" dirty="0"/>
                <a:t>][</a:t>
              </a:r>
              <a:r>
                <a:rPr lang="zh-CN" altLang="en-US" dirty="0"/>
                <a:t>鲜花</a:t>
              </a:r>
              <a:r>
                <a:rPr lang="en-US" altLang="zh-CN" dirty="0"/>
                <a:t>][</a:t>
              </a:r>
              <a:r>
                <a:rPr lang="zh-CN" altLang="en-US" dirty="0"/>
                <a:t>心</a:t>
              </a:r>
              <a:r>
                <a:rPr lang="en-US" altLang="zh-CN" dirty="0"/>
                <a:t>][</a:t>
              </a:r>
              <a:r>
                <a:rPr lang="zh-CN" altLang="en-US" dirty="0"/>
                <a:t>心</a:t>
              </a:r>
              <a:r>
                <a:rPr lang="en-US" altLang="zh-CN" dirty="0"/>
                <a:t>]//@</a:t>
              </a:r>
              <a:r>
                <a:rPr lang="zh-CN" altLang="en-US" dirty="0"/>
                <a:t>乒乓阎桂丽</a:t>
              </a:r>
              <a:r>
                <a:rPr lang="en-US" altLang="zh-CN" dirty="0"/>
                <a:t>:</a:t>
              </a:r>
              <a:r>
                <a:rPr lang="zh-CN" altLang="en-US" dirty="0"/>
                <a:t>回复</a:t>
              </a:r>
              <a:r>
                <a:rPr lang="en-US" altLang="zh-CN" dirty="0"/>
                <a:t>@</a:t>
              </a:r>
              <a:r>
                <a:rPr lang="zh-CN" altLang="en-US" dirty="0"/>
                <a:t>寒一平平</a:t>
              </a:r>
              <a:r>
                <a:rPr lang="en-US" altLang="zh-CN" dirty="0"/>
                <a:t>:</a:t>
              </a:r>
              <a:r>
                <a:rPr lang="zh-CN" altLang="en-US" dirty="0"/>
                <a:t>一言为定</a:t>
              </a:r>
              <a:r>
                <a:rPr lang="en-US" altLang="zh-CN" dirty="0"/>
                <a:t>![</a:t>
              </a:r>
              <a:r>
                <a:rPr lang="zh-CN" altLang="en-US" dirty="0"/>
                <a:t>嘻嘻</a:t>
              </a:r>
              <a:r>
                <a:rPr lang="en-US" altLang="zh-CN" dirty="0" smtClean="0"/>
                <a:t>]</a:t>
              </a:r>
              <a:endParaRPr lang="zh-CN" altLang="en-US" dirty="0"/>
            </a:p>
          </p:txBody>
        </p:sp>
        <p:sp>
          <p:nvSpPr>
            <p:cNvPr id="10" name="矩形 9"/>
            <p:cNvSpPr/>
            <p:nvPr/>
          </p:nvSpPr>
          <p:spPr>
            <a:xfrm>
              <a:off x="6790268" y="2908682"/>
              <a:ext cx="483975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 smtClean="0"/>
                <a:t>[ </a:t>
              </a:r>
              <a:r>
                <a:rPr lang="zh-CN" altLang="en-US" dirty="0" smtClean="0"/>
                <a:t>祝</a:t>
              </a:r>
              <a:r>
                <a:rPr lang="zh-CN" altLang="en-US" dirty="0"/>
                <a:t>姐姐马年快乐！幸福安康！平平安安</a:t>
              </a:r>
              <a:r>
                <a:rPr lang="zh-CN" altLang="en-US" dirty="0" smtClean="0"/>
                <a:t>！</a:t>
              </a:r>
              <a:r>
                <a:rPr lang="en-US" altLang="zh-CN" dirty="0" smtClean="0"/>
                <a:t>]</a:t>
              </a:r>
              <a:endParaRPr lang="zh-CN" altLang="en-US" dirty="0"/>
            </a:p>
          </p:txBody>
        </p:sp>
        <p:sp>
          <p:nvSpPr>
            <p:cNvPr id="11" name="矩形 10"/>
            <p:cNvSpPr/>
            <p:nvPr/>
          </p:nvSpPr>
          <p:spPr>
            <a:xfrm>
              <a:off x="6790268" y="3600642"/>
              <a:ext cx="500168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dirty="0" smtClean="0"/>
                <a:t>祝</a:t>
              </a:r>
              <a:r>
                <a:rPr lang="en-US" altLang="zh-CN" dirty="0" smtClean="0"/>
                <a:t>// </a:t>
              </a:r>
              <a:r>
                <a:rPr lang="zh-CN" altLang="en-US" dirty="0" smtClean="0"/>
                <a:t>姐姐</a:t>
              </a:r>
              <a:r>
                <a:rPr lang="en-US" altLang="zh-CN" dirty="0" smtClean="0"/>
                <a:t>// </a:t>
              </a:r>
              <a:r>
                <a:rPr lang="zh-CN" altLang="en-US" dirty="0" smtClean="0"/>
                <a:t>马年</a:t>
              </a:r>
              <a:r>
                <a:rPr lang="en-US" altLang="zh-CN" dirty="0" smtClean="0"/>
                <a:t>//</a:t>
              </a:r>
              <a:r>
                <a:rPr lang="zh-CN" altLang="en-US" dirty="0" smtClean="0"/>
                <a:t> 快乐</a:t>
              </a:r>
              <a:r>
                <a:rPr lang="en-US" altLang="zh-CN" dirty="0" smtClean="0"/>
                <a:t>//</a:t>
              </a:r>
              <a:r>
                <a:rPr lang="zh-CN" altLang="en-US" dirty="0" smtClean="0"/>
                <a:t> ！</a:t>
              </a:r>
              <a:r>
                <a:rPr lang="en-US" altLang="zh-CN" dirty="0" smtClean="0"/>
                <a:t>// </a:t>
              </a:r>
              <a:r>
                <a:rPr lang="zh-CN" altLang="en-US" dirty="0" smtClean="0"/>
                <a:t>幸福</a:t>
              </a:r>
              <a:r>
                <a:rPr lang="en-US" altLang="zh-CN" dirty="0" smtClean="0"/>
                <a:t>//</a:t>
              </a:r>
              <a:r>
                <a:rPr lang="zh-CN" altLang="en-US" dirty="0" smtClean="0"/>
                <a:t> 安康</a:t>
              </a:r>
              <a:r>
                <a:rPr lang="en-US" altLang="zh-CN" dirty="0" smtClean="0"/>
                <a:t>// </a:t>
              </a:r>
              <a:r>
                <a:rPr lang="zh-CN" altLang="en-US" dirty="0" smtClean="0"/>
                <a:t>！</a:t>
              </a:r>
              <a:r>
                <a:rPr lang="en-US" altLang="zh-CN" dirty="0" smtClean="0"/>
                <a:t>// </a:t>
              </a:r>
              <a:r>
                <a:rPr lang="zh-CN" altLang="en-US" dirty="0" smtClean="0"/>
                <a:t>平平安安</a:t>
              </a:r>
              <a:r>
                <a:rPr lang="en-US" altLang="zh-CN" dirty="0" smtClean="0"/>
                <a:t>//</a:t>
              </a:r>
              <a:r>
                <a:rPr lang="zh-CN" altLang="en-US" dirty="0" smtClean="0"/>
                <a:t> ！</a:t>
              </a:r>
              <a:endParaRPr lang="zh-CN" altLang="en-US" dirty="0"/>
            </a:p>
          </p:txBody>
        </p:sp>
        <p:sp>
          <p:nvSpPr>
            <p:cNvPr id="24" name="矩形 23"/>
            <p:cNvSpPr/>
            <p:nvPr/>
          </p:nvSpPr>
          <p:spPr>
            <a:xfrm>
              <a:off x="6790268" y="4569601"/>
              <a:ext cx="500168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dirty="0" smtClean="0"/>
                <a:t>祝</a:t>
              </a:r>
              <a:r>
                <a:rPr lang="en-US" altLang="zh-CN" dirty="0" smtClean="0"/>
                <a:t>// </a:t>
              </a:r>
              <a:r>
                <a:rPr lang="zh-CN" altLang="en-US" dirty="0" smtClean="0"/>
                <a:t>姐姐</a:t>
              </a:r>
              <a:r>
                <a:rPr lang="en-US" altLang="zh-CN" dirty="0" smtClean="0"/>
                <a:t>// </a:t>
              </a:r>
              <a:r>
                <a:rPr lang="zh-CN" altLang="en-US" dirty="0" smtClean="0"/>
                <a:t>马年</a:t>
              </a:r>
              <a:r>
                <a:rPr lang="en-US" altLang="zh-CN" dirty="0" smtClean="0"/>
                <a:t>//</a:t>
              </a:r>
              <a:r>
                <a:rPr lang="zh-CN" altLang="en-US" dirty="0" smtClean="0"/>
                <a:t> 快乐</a:t>
              </a:r>
              <a:r>
                <a:rPr lang="en-US" altLang="zh-CN" dirty="0" smtClean="0"/>
                <a:t>// </a:t>
              </a:r>
              <a:r>
                <a:rPr lang="zh-CN" altLang="en-US" dirty="0" smtClean="0"/>
                <a:t>幸福</a:t>
              </a:r>
              <a:r>
                <a:rPr lang="en-US" altLang="zh-CN" dirty="0" smtClean="0"/>
                <a:t>//</a:t>
              </a:r>
              <a:r>
                <a:rPr lang="zh-CN" altLang="en-US" dirty="0" smtClean="0"/>
                <a:t> 安康</a:t>
              </a:r>
              <a:r>
                <a:rPr lang="en-US" altLang="zh-CN" dirty="0" smtClean="0"/>
                <a:t>// </a:t>
              </a:r>
              <a:r>
                <a:rPr lang="zh-CN" altLang="en-US" dirty="0" smtClean="0"/>
                <a:t>平平安安</a:t>
              </a:r>
              <a:r>
                <a:rPr lang="en-US" altLang="zh-CN" dirty="0" smtClean="0"/>
                <a:t>//</a:t>
              </a:r>
              <a:r>
                <a:rPr lang="zh-CN" altLang="en-US" dirty="0" smtClean="0"/>
                <a:t> ！</a:t>
              </a:r>
              <a:endParaRPr lang="zh-CN" altLang="en-US" dirty="0"/>
            </a:p>
          </p:txBody>
        </p:sp>
        <p:grpSp>
          <p:nvGrpSpPr>
            <p:cNvPr id="29" name="组合 28"/>
            <p:cNvGrpSpPr/>
            <p:nvPr/>
          </p:nvGrpSpPr>
          <p:grpSpPr>
            <a:xfrm>
              <a:off x="7350389" y="5261562"/>
              <a:ext cx="4017493" cy="772030"/>
              <a:chOff x="7350389" y="5327277"/>
              <a:chExt cx="4017493" cy="772030"/>
            </a:xfrm>
          </p:grpSpPr>
          <p:sp>
            <p:nvSpPr>
              <p:cNvPr id="13" name="矩形 12"/>
              <p:cNvSpPr/>
              <p:nvPr/>
            </p:nvSpPr>
            <p:spPr>
              <a:xfrm>
                <a:off x="7350389" y="5327277"/>
                <a:ext cx="781050" cy="371475"/>
              </a:xfrm>
              <a:prstGeom prst="rect">
                <a:avLst/>
              </a:prstGeom>
              <a:solidFill>
                <a:srgbClr val="FDFDFD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 smtClean="0">
                    <a:solidFill>
                      <a:schemeClr val="tx1"/>
                    </a:solidFill>
                    <a:latin typeface="+mn-ea"/>
                  </a:rPr>
                  <a:t>1.2305</a:t>
                </a:r>
                <a:endParaRPr lang="zh-CN" altLang="en-US" sz="1200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15" name="矩形 14"/>
              <p:cNvSpPr/>
              <p:nvPr/>
            </p:nvSpPr>
            <p:spPr>
              <a:xfrm>
                <a:off x="8131439" y="5327277"/>
                <a:ext cx="781050" cy="371475"/>
              </a:xfrm>
              <a:prstGeom prst="rect">
                <a:avLst/>
              </a:prstGeom>
              <a:solidFill>
                <a:srgbClr val="FDFDFD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 smtClean="0">
                    <a:solidFill>
                      <a:schemeClr val="tx1"/>
                    </a:solidFill>
                    <a:latin typeface="+mn-ea"/>
                  </a:rPr>
                  <a:t>3.0114</a:t>
                </a:r>
                <a:endParaRPr lang="zh-CN" altLang="en-US" sz="1200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17" name="矩形 16"/>
              <p:cNvSpPr/>
              <p:nvPr/>
            </p:nvSpPr>
            <p:spPr>
              <a:xfrm>
                <a:off x="8912489" y="5327277"/>
                <a:ext cx="781050" cy="371475"/>
              </a:xfrm>
              <a:prstGeom prst="rect">
                <a:avLst/>
              </a:prstGeom>
              <a:solidFill>
                <a:srgbClr val="FDFDFD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 smtClean="0">
                    <a:solidFill>
                      <a:schemeClr val="tx1"/>
                    </a:solidFill>
                    <a:latin typeface="+mn-ea"/>
                  </a:rPr>
                  <a:t>……</a:t>
                </a:r>
                <a:endParaRPr lang="zh-CN" altLang="en-US" sz="1200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19" name="矩形 18"/>
              <p:cNvSpPr/>
              <p:nvPr/>
            </p:nvSpPr>
            <p:spPr>
              <a:xfrm>
                <a:off x="9693539" y="5327277"/>
                <a:ext cx="781050" cy="371475"/>
              </a:xfrm>
              <a:prstGeom prst="rect">
                <a:avLst/>
              </a:prstGeom>
              <a:solidFill>
                <a:srgbClr val="FDFDFD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 smtClean="0">
                    <a:solidFill>
                      <a:schemeClr val="tx1"/>
                    </a:solidFill>
                    <a:latin typeface="+mn-ea"/>
                  </a:rPr>
                  <a:t>0.1879</a:t>
                </a:r>
                <a:endParaRPr lang="zh-CN" altLang="en-US" sz="1200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21" name="矩形 20"/>
              <p:cNvSpPr/>
              <p:nvPr/>
            </p:nvSpPr>
            <p:spPr>
              <a:xfrm>
                <a:off x="10474589" y="5327277"/>
                <a:ext cx="893293" cy="371475"/>
              </a:xfrm>
              <a:prstGeom prst="rect">
                <a:avLst/>
              </a:prstGeom>
              <a:solidFill>
                <a:srgbClr val="FDFDFD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dirty="0" smtClean="0">
                    <a:solidFill>
                      <a:schemeClr val="tx1"/>
                    </a:solidFill>
                    <a:latin typeface="+mn-ea"/>
                  </a:rPr>
                  <a:t>2.4413</a:t>
                </a:r>
                <a:endParaRPr lang="zh-CN" altLang="en-US" sz="1200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26" name="文本框 25"/>
              <p:cNvSpPr txBox="1"/>
              <p:nvPr/>
            </p:nvSpPr>
            <p:spPr>
              <a:xfrm>
                <a:off x="10024002" y="5729975"/>
                <a:ext cx="81304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 5 dim</a:t>
                </a:r>
              </a:p>
            </p:txBody>
          </p:sp>
          <p:sp>
            <p:nvSpPr>
              <p:cNvPr id="27" name="文本框 26"/>
              <p:cNvSpPr txBox="1"/>
              <p:nvPr/>
            </p:nvSpPr>
            <p:spPr>
              <a:xfrm>
                <a:off x="7585631" y="5729975"/>
                <a:ext cx="132600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 smtClean="0"/>
                  <a:t>embedding</a:t>
                </a:r>
              </a:p>
            </p:txBody>
          </p:sp>
        </p:grpSp>
      </p:grpSp>
      <p:cxnSp>
        <p:nvCxnSpPr>
          <p:cNvPr id="39" name="直接连接符 38"/>
          <p:cNvCxnSpPr/>
          <p:nvPr/>
        </p:nvCxnSpPr>
        <p:spPr>
          <a:xfrm flipH="1">
            <a:off x="6639312" y="1451440"/>
            <a:ext cx="9139" cy="4282610"/>
          </a:xfrm>
          <a:prstGeom prst="line">
            <a:avLst/>
          </a:prstGeom>
          <a:ln w="28575">
            <a:solidFill>
              <a:srgbClr val="7C2D6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668457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j-ea"/>
                <a:sym typeface="+mn-lt"/>
              </a:rPr>
              <a:t>NLP</a:t>
            </a:r>
            <a:r>
              <a:rPr lang="zh-CN" altLang="en-US" dirty="0">
                <a:latin typeface="+mj-ea"/>
                <a:sym typeface="+mn-lt"/>
              </a:rPr>
              <a:t>常见语料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spc="100" dirty="0">
                <a:cs typeface="+mn-ea"/>
                <a:sym typeface="+mn-lt"/>
              </a:rPr>
              <a:t>NLP Common Corpus</a:t>
            </a: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F381C9F4-9864-40BC-B01A-015B98442A04}"/>
              </a:ext>
            </a:extLst>
          </p:cNvPr>
          <p:cNvSpPr/>
          <p:nvPr/>
        </p:nvSpPr>
        <p:spPr>
          <a:xfrm>
            <a:off x="5291684" y="803025"/>
            <a:ext cx="1608633" cy="1608633"/>
          </a:xfrm>
          <a:prstGeom prst="ellipse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6600" dirty="0">
                <a:cs typeface="+mn-ea"/>
                <a:sym typeface="+mn-lt"/>
              </a:rPr>
              <a:t>贰</a:t>
            </a:r>
            <a:endParaRPr lang="zh-CN" altLang="en-US" sz="6600" dirty="0">
              <a:cs typeface="+mn-ea"/>
              <a:sym typeface="+mn-lt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5451591" y="5908377"/>
            <a:ext cx="1288818" cy="108000"/>
            <a:chOff x="5569673" y="5908377"/>
            <a:chExt cx="1288818" cy="108000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D98FD99A-EFD0-4141-B733-9E7ED74FDA18}"/>
                </a:ext>
              </a:extLst>
            </p:cNvPr>
            <p:cNvSpPr/>
            <p:nvPr/>
          </p:nvSpPr>
          <p:spPr>
            <a:xfrm>
              <a:off x="5569673" y="5908377"/>
              <a:ext cx="108000" cy="108000"/>
            </a:xfrm>
            <a:prstGeom prst="ellipse">
              <a:avLst/>
            </a:prstGeom>
            <a:solidFill>
              <a:srgbClr val="FDFDFD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3C208640-08C5-402E-ACFC-188FE0D4F27B}"/>
                </a:ext>
              </a:extLst>
            </p:cNvPr>
            <p:cNvSpPr/>
            <p:nvPr/>
          </p:nvSpPr>
          <p:spPr>
            <a:xfrm>
              <a:off x="5805836" y="5908377"/>
              <a:ext cx="108000" cy="108000"/>
            </a:xfrm>
            <a:prstGeom prst="ellipse">
              <a:avLst/>
            </a:prstGeom>
            <a:solidFill>
              <a:srgbClr val="7C2D64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DE2ECDD2-6209-42D7-AAF9-EDB622256F50}"/>
                </a:ext>
              </a:extLst>
            </p:cNvPr>
            <p:cNvSpPr/>
            <p:nvPr/>
          </p:nvSpPr>
          <p:spPr>
            <a:xfrm>
              <a:off x="6042000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A9CE3EBB-608E-4FBF-85EF-9B447244FA8E}"/>
                </a:ext>
              </a:extLst>
            </p:cNvPr>
            <p:cNvSpPr/>
            <p:nvPr/>
          </p:nvSpPr>
          <p:spPr>
            <a:xfrm>
              <a:off x="6278163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514327" y="5908377"/>
              <a:ext cx="108000" cy="108000"/>
            </a:xfrm>
            <a:prstGeom prst="ellipse">
              <a:avLst/>
            </a:prstGeom>
            <a:noFill/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0F233D8A-AA19-496C-9C10-0CD0B8411231}"/>
                </a:ext>
              </a:extLst>
            </p:cNvPr>
            <p:cNvSpPr/>
            <p:nvPr/>
          </p:nvSpPr>
          <p:spPr>
            <a:xfrm>
              <a:off x="6750491" y="5908377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7C2D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55330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7225" y="1213350"/>
            <a:ext cx="7202313" cy="4643116"/>
          </a:xfrm>
          <a:prstGeom prst="rect">
            <a:avLst/>
          </a:prstGeom>
        </p:spPr>
      </p:pic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620000" y="5856450"/>
            <a:ext cx="20732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/>
              <a:t>GLUE Benchmark 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746124" y="1626601"/>
            <a:ext cx="33210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巧妇难为无米之炊是常态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746124" y="2134423"/>
            <a:ext cx="33210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公开数据集 易</a:t>
            </a:r>
            <a:r>
              <a:rPr lang="en-US" altLang="zh-CN" dirty="0" smtClean="0"/>
              <a:t>Paper </a:t>
            </a:r>
            <a:r>
              <a:rPr lang="zh-CN" altLang="en-US" dirty="0" smtClean="0"/>
              <a:t>难</a:t>
            </a:r>
            <a:r>
              <a:rPr lang="en-US" altLang="zh-CN" dirty="0" smtClean="0"/>
              <a:t>Project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746124" y="2598440"/>
            <a:ext cx="33210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自建数据集 工作量大 难处理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574674" y="6282812"/>
            <a:ext cx="30187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https://gluebenchmark.com/</a:t>
            </a:r>
          </a:p>
        </p:txBody>
      </p:sp>
      <p:sp>
        <p:nvSpPr>
          <p:cNvPr id="14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en-US" altLang="zh-CN" dirty="0" smtClean="0"/>
              <a:t>NLP</a:t>
            </a:r>
            <a:r>
              <a:rPr lang="zh-CN" altLang="en-US" dirty="0" smtClean="0"/>
              <a:t>语料库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5100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74674" y="6282812"/>
            <a:ext cx="472443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hlinkClick r:id="rId3"/>
              </a:rPr>
              <a:t>https://www.cluebenchmarks.com/index.</a:t>
            </a:r>
            <a:r>
              <a:rPr lang="zh-CN" altLang="en-US" dirty="0" smtClean="0">
                <a:hlinkClick r:id="rId3"/>
              </a:rPr>
              <a:t>html</a:t>
            </a:r>
            <a:endParaRPr lang="en-US" altLang="zh-CN" dirty="0" smtClean="0"/>
          </a:p>
          <a:p>
            <a:endParaRPr lang="en-US" altLang="zh-CN" dirty="0" smtClean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1699" y="1199443"/>
            <a:ext cx="8584427" cy="4449695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5427274" y="5772597"/>
            <a:ext cx="20732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C</a:t>
            </a:r>
            <a:r>
              <a:rPr lang="en-US" altLang="zh-CN" dirty="0" smtClean="0"/>
              <a:t>LUE Benchmark </a:t>
            </a:r>
            <a:endParaRPr lang="zh-CN" altLang="en-US" dirty="0"/>
          </a:p>
        </p:txBody>
      </p:sp>
      <p:sp>
        <p:nvSpPr>
          <p:cNvPr id="10" name="标题 1"/>
          <p:cNvSpPr txBox="1">
            <a:spLocks/>
          </p:cNvSpPr>
          <p:nvPr/>
        </p:nvSpPr>
        <p:spPr>
          <a:xfrm>
            <a:off x="669924" y="1"/>
            <a:ext cx="10498931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7C2D6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mtClean="0"/>
              <a:t>NLP</a:t>
            </a:r>
            <a:r>
              <a:rPr lang="zh-CN" altLang="en-US" smtClean="0"/>
              <a:t>语料库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101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3"/>
          <a:srcRect r="25381"/>
          <a:stretch/>
        </p:blipFill>
        <p:spPr>
          <a:xfrm>
            <a:off x="4267900" y="2702845"/>
            <a:ext cx="7252587" cy="3435033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498931" cy="1028699"/>
          </a:xfrm>
        </p:spPr>
        <p:txBody>
          <a:bodyPr/>
          <a:lstStyle/>
          <a:p>
            <a:r>
              <a:rPr lang="en-US" altLang="zh-CN" dirty="0" smtClean="0"/>
              <a:t>NLP</a:t>
            </a:r>
            <a:r>
              <a:rPr lang="zh-CN" altLang="en-US" dirty="0" smtClean="0"/>
              <a:t>语料库</a:t>
            </a:r>
            <a:endParaRPr lang="zh-CN" altLang="en-US" dirty="0"/>
          </a:p>
        </p:txBody>
      </p:sp>
      <p:sp>
        <p:nvSpPr>
          <p:cNvPr id="6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7C2D64"/>
                </a:solidFill>
              </a:defRPr>
            </a:lvl1pPr>
          </a:lstStyle>
          <a:p>
            <a:r>
              <a:rPr lang="zh-CN" altLang="en-US" spc="600" dirty="0" smtClean="0">
                <a:latin typeface="+mn-ea"/>
              </a:rPr>
              <a:t>厚德 博学 励志 笃行</a:t>
            </a:r>
            <a:endParaRPr lang="zh-CN" altLang="en-US" spc="600" dirty="0">
              <a:latin typeface="+mn-ea"/>
            </a:endParaRPr>
          </a:p>
        </p:txBody>
      </p:sp>
      <p:sp>
        <p:nvSpPr>
          <p:cNvPr id="7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90268" y="6364288"/>
            <a:ext cx="4730219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7C2D64"/>
                </a:solidFill>
              </a:defRPr>
            </a:lvl1pPr>
          </a:lstStyle>
          <a:p>
            <a:r>
              <a:rPr lang="en-US" altLang="zh-CN" spc="300" dirty="0" smtClean="0">
                <a:cs typeface="Arial" panose="020B0604020202020204" pitchFamily="34" charset="0"/>
              </a:rPr>
              <a:t>Chongqing University of Science and Technology</a:t>
            </a:r>
            <a:endParaRPr lang="zh-CN" altLang="en-US" spc="300" dirty="0">
              <a:cs typeface="Arial" panose="020B060402020202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710597" y="1749556"/>
            <a:ext cx="240982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zh-CN" altLang="en-US" dirty="0">
                <a:latin typeface="-apple-system"/>
              </a:rPr>
              <a:t>维基百科的语料库</a:t>
            </a:r>
          </a:p>
          <a:p>
            <a:pPr>
              <a:buFont typeface="+mj-lt"/>
              <a:buAutoNum type="arabicPeriod"/>
            </a:pPr>
            <a:r>
              <a:rPr lang="en-US" altLang="zh-CN" dirty="0" smtClean="0">
                <a:latin typeface="-apple-system"/>
              </a:rPr>
              <a:t>WordNet</a:t>
            </a:r>
            <a:r>
              <a:rPr lang="zh-CN" altLang="en-US" dirty="0">
                <a:latin typeface="-apple-system"/>
              </a:rPr>
              <a:t>、</a:t>
            </a:r>
            <a:r>
              <a:rPr lang="en-US" altLang="zh-CN" dirty="0" err="1">
                <a:latin typeface="-apple-system"/>
              </a:rPr>
              <a:t>HowNet</a:t>
            </a:r>
            <a:endParaRPr lang="en-US" altLang="zh-CN" dirty="0">
              <a:latin typeface="-apple-system"/>
            </a:endParaRPr>
          </a:p>
          <a:p>
            <a:pPr>
              <a:buFont typeface="+mj-lt"/>
              <a:buAutoNum type="arabicPeriod"/>
            </a:pPr>
            <a:r>
              <a:rPr lang="en-US" altLang="zh-CN" dirty="0">
                <a:latin typeface="-apple-system"/>
              </a:rPr>
              <a:t>..</a:t>
            </a:r>
            <a:endParaRPr lang="en-US" altLang="zh-CN" b="0" i="0" dirty="0">
              <a:effectLst/>
              <a:latin typeface="-apple-system"/>
            </a:endParaRPr>
          </a:p>
        </p:txBody>
      </p:sp>
      <p:sp>
        <p:nvSpPr>
          <p:cNvPr id="4" name="下箭头 3"/>
          <p:cNvSpPr/>
          <p:nvPr/>
        </p:nvSpPr>
        <p:spPr>
          <a:xfrm>
            <a:off x="2700332" y="2920816"/>
            <a:ext cx="223838" cy="472926"/>
          </a:xfrm>
          <a:prstGeom prst="downArrow">
            <a:avLst/>
          </a:prstGeom>
          <a:solidFill>
            <a:srgbClr val="7C2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1686714" y="3997865"/>
            <a:ext cx="24098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-apple-system"/>
              </a:rPr>
              <a:t>先验知识、远程监督、规则抽取、模板抽取</a:t>
            </a:r>
            <a:endParaRPr lang="en-US" altLang="zh-CN" b="0" i="0" dirty="0">
              <a:effectLst/>
              <a:latin typeface="-apple-system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69924" y="135694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有那些？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669924" y="347868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怎么用？</a:t>
            </a:r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4733366" y="1356941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没有怎么办？</a:t>
            </a:r>
            <a:endParaRPr lang="zh-CN" altLang="en-US" dirty="0"/>
          </a:p>
        </p:txBody>
      </p:sp>
      <p:sp>
        <p:nvSpPr>
          <p:cNvPr id="11" name="矩形 10"/>
          <p:cNvSpPr/>
          <p:nvPr/>
        </p:nvSpPr>
        <p:spPr>
          <a:xfrm>
            <a:off x="5250163" y="1752894"/>
            <a:ext cx="63798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zh-CN" altLang="en-US" b="0" i="0" dirty="0" smtClean="0">
                <a:effectLst/>
                <a:latin typeface="-apple-system"/>
              </a:rPr>
              <a:t>爬虫（</a:t>
            </a:r>
            <a:r>
              <a:rPr lang="en-US" altLang="zh-CN" dirty="0" smtClean="0">
                <a:latin typeface="-apple-system"/>
              </a:rPr>
              <a:t>Selenium</a:t>
            </a:r>
            <a:r>
              <a:rPr lang="zh-CN" altLang="en-US" dirty="0" smtClean="0">
                <a:latin typeface="-apple-system"/>
              </a:rPr>
              <a:t>、八爪鱼、采集器</a:t>
            </a:r>
            <a:r>
              <a:rPr lang="zh-CN" altLang="en-US" b="0" i="0" dirty="0" smtClean="0">
                <a:effectLst/>
                <a:latin typeface="-apple-system"/>
              </a:rPr>
              <a:t>）</a:t>
            </a:r>
            <a:endParaRPr lang="en-US" altLang="zh-CN" b="0" i="0" dirty="0" smtClean="0">
              <a:effectLst/>
              <a:latin typeface="-apple-system"/>
            </a:endParaRPr>
          </a:p>
          <a:p>
            <a:pPr>
              <a:buFont typeface="+mj-lt"/>
              <a:buAutoNum type="arabicPeriod"/>
            </a:pPr>
            <a:r>
              <a:rPr lang="zh-CN" altLang="en-US" b="0" i="0" dirty="0" smtClean="0">
                <a:effectLst/>
                <a:latin typeface="-apple-system"/>
              </a:rPr>
              <a:t>关注竞赛提供的相关数据集（天池、讯飞、</a:t>
            </a:r>
            <a:r>
              <a:rPr lang="en-US" altLang="zh-CN" dirty="0" smtClean="0">
                <a:latin typeface="-apple-system"/>
              </a:rPr>
              <a:t>CCF BDCI</a:t>
            </a:r>
            <a:r>
              <a:rPr lang="zh-CN" altLang="en-US" b="0" i="0" dirty="0" smtClean="0">
                <a:effectLst/>
                <a:latin typeface="-apple-system"/>
              </a:rPr>
              <a:t>）</a:t>
            </a:r>
            <a:endParaRPr lang="en-US" altLang="zh-CN" b="0" i="0" dirty="0" smtClean="0">
              <a:effectLst/>
              <a:latin typeface="-apple-system"/>
            </a:endParaRPr>
          </a:p>
          <a:p>
            <a:pPr>
              <a:buFont typeface="+mj-lt"/>
              <a:buAutoNum type="arabicPeriod"/>
            </a:pPr>
            <a:r>
              <a:rPr lang="en-US" altLang="zh-CN" dirty="0" smtClean="0">
                <a:latin typeface="-apple-system"/>
              </a:rPr>
              <a:t>RMB</a:t>
            </a:r>
            <a:r>
              <a:rPr lang="zh-CN" altLang="en-US" dirty="0" smtClean="0">
                <a:latin typeface="-apple-system"/>
              </a:rPr>
              <a:t>选手（数据堂）</a:t>
            </a:r>
            <a:endParaRPr lang="en-US" altLang="zh-CN" b="0" i="0" dirty="0">
              <a:effectLst/>
              <a:latin typeface="-apple-system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3366" y="2718116"/>
            <a:ext cx="6976883" cy="3435033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2907" y="2702845"/>
            <a:ext cx="5327117" cy="34503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5450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5268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611157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769925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20190115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5388C"/>
      </a:accent1>
      <a:accent2>
        <a:srgbClr val="0072BE"/>
      </a:accent2>
      <a:accent3>
        <a:srgbClr val="205DA0"/>
      </a:accent3>
      <a:accent4>
        <a:srgbClr val="FF9500"/>
      </a:accent4>
      <a:accent5>
        <a:srgbClr val="000DEE"/>
      </a:accent5>
      <a:accent6>
        <a:srgbClr val="FFC671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820</TotalTime>
  <Words>1219</Words>
  <Application>Microsoft Office PowerPoint</Application>
  <PresentationFormat>宽屏</PresentationFormat>
  <Paragraphs>200</Paragraphs>
  <Slides>2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5" baseType="lpstr">
      <vt:lpstr>-apple-system</vt:lpstr>
      <vt:lpstr>等线</vt:lpstr>
      <vt:lpstr>华文新魏</vt:lpstr>
      <vt:lpstr>宋体</vt:lpstr>
      <vt:lpstr>微软雅黑</vt:lpstr>
      <vt:lpstr>Arial</vt:lpstr>
      <vt:lpstr>Calibri</vt:lpstr>
      <vt:lpstr>主题5</vt:lpstr>
      <vt:lpstr>think-cell Slide</vt:lpstr>
      <vt:lpstr>自然语言处理 预处理技术</vt:lpstr>
      <vt:lpstr> </vt:lpstr>
      <vt:lpstr>PowerPoint 演示文稿</vt:lpstr>
      <vt:lpstr>NLP预处理流程</vt:lpstr>
      <vt:lpstr>NLP预处理流程</vt:lpstr>
      <vt:lpstr>NLP常见语料库</vt:lpstr>
      <vt:lpstr>NLP语料库</vt:lpstr>
      <vt:lpstr>PowerPoint 演示文稿</vt:lpstr>
      <vt:lpstr>NLP语料库</vt:lpstr>
      <vt:lpstr>文本清洗方法</vt:lpstr>
      <vt:lpstr>文本清洗方法</vt:lpstr>
      <vt:lpstr>文本清洗方法</vt:lpstr>
      <vt:lpstr>文本清洗方法</vt:lpstr>
      <vt:lpstr>分词技术</vt:lpstr>
      <vt:lpstr>分词技术</vt:lpstr>
      <vt:lpstr>分词技术</vt:lpstr>
      <vt:lpstr>分词工具</vt:lpstr>
      <vt:lpstr>文本标准化</vt:lpstr>
      <vt:lpstr>文本标准化</vt:lpstr>
      <vt:lpstr>文本标准化</vt:lpstr>
      <vt:lpstr>文本特征提取</vt:lpstr>
      <vt:lpstr>文本特征提取</vt:lpstr>
      <vt:lpstr>文本特征提取</vt:lpstr>
      <vt:lpstr>文本特征提取</vt:lpstr>
      <vt:lpstr>Q&amp;A</vt:lpstr>
      <vt:lpstr>感谢观看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rmor</cp:lastModifiedBy>
  <cp:revision>156</cp:revision>
  <cp:lastPrinted>2017-11-14T16:00:00Z</cp:lastPrinted>
  <dcterms:created xsi:type="dcterms:W3CDTF">2017-11-14T16:00:00Z</dcterms:created>
  <dcterms:modified xsi:type="dcterms:W3CDTF">2021-11-12T07:0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